
<file path=[Content_Types].xml><?xml version="1.0" encoding="utf-8"?>
<Types xmlns="http://schemas.openxmlformats.org/package/2006/content-types">
  <Default Extension="bin"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media/image2.bin" ContentType="image/png"/>
  <Override PartName="/ppt/media/image3.bin" ContentType="image/png"/>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media/image4.bin" ContentType="image/png"/>
  <Override PartName="/ppt/tags/tag15.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media/image13.bin" ContentType="image/jpeg"/>
  <Override PartName="/ppt/tags/tag20.xml" ContentType="application/vnd.openxmlformats-officedocument.presentationml.tags+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media/image15.bin" ContentType="image/svg+xml"/>
  <Override PartName="/ppt/media/image17.bin" ContentType="image/svg+xml"/>
  <Override PartName="/ppt/media/image19.bin" ContentType="image/svg+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media/image22.bin" ContentType="image/png"/>
  <Override PartName="/ppt/tags/tag23.xml" ContentType="application/vnd.openxmlformats-officedocument.presentationml.tags+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media/image24.bin" ContentType="image/svg+xml"/>
  <Override PartName="/ppt/media/image26.bin" ContentType="image/svg+xml"/>
  <Override PartName="/ppt/media/image28.bin" ContentType="image/svg+xml"/>
  <Override PartName="/ppt/media/image30.bin" ContentType="image/svg+xml"/>
  <Override PartName="/ppt/media/image32.bin" ContentType="image/svg+xml"/>
  <Override PartName="/ppt/tags/tag24.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5.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6.xml" ContentType="application/vnd.openxmlformats-officedocument.presentationml.tags+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7.xml" ContentType="application/vnd.openxmlformats-officedocument.presentationml.tags+xml"/>
  <Override PartName="/ppt/notesSlides/notesSlide1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28.xml" ContentType="application/vnd.openxmlformats-officedocument.presentationml.tags+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5.xml" ContentType="application/vnd.openxmlformats-officedocument.presentationml.notesSlide+xml"/>
  <Override PartName="/ppt/media/image33.bin" ContentType="image/jpeg"/>
  <Override PartName="/ppt/tags/tag36.xml" ContentType="application/vnd.openxmlformats-officedocument.presentationml.tags+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aveSubsetFonts="1" autoCompressPictures="0">
  <p:sldMasterIdLst>
    <p:sldMasterId id="2147483648" r:id="rId8"/>
    <p:sldMasterId id="2147483693" r:id="rId9"/>
  </p:sldMasterIdLst>
  <p:notesMasterIdLst>
    <p:notesMasterId r:id="rId29"/>
  </p:notesMasterIdLst>
  <p:handoutMasterIdLst>
    <p:handoutMasterId r:id="rId30"/>
  </p:handoutMasterIdLst>
  <p:sldIdLst>
    <p:sldId id="256" r:id="rId10"/>
    <p:sldId id="257" r:id="rId11"/>
    <p:sldId id="258" r:id="rId12"/>
    <p:sldId id="259" r:id="rId13"/>
    <p:sldId id="260" r:id="rId14"/>
    <p:sldId id="261" r:id="rId15"/>
    <p:sldId id="262" r:id="rId16"/>
    <p:sldId id="263" r:id="rId17"/>
    <p:sldId id="264" r:id="rId18"/>
    <p:sldId id="265" r:id="rId19"/>
    <p:sldId id="266" r:id="rId20"/>
    <p:sldId id="267" r:id="rId21"/>
    <p:sldId id="268" r:id="rId22"/>
    <p:sldId id="269" r:id="rId23"/>
    <p:sldId id="270" r:id="rId24"/>
    <p:sldId id="271" r:id="rId25"/>
    <p:sldId id="272" r:id="rId26"/>
    <p:sldId id="273" r:id="rId27"/>
    <p:sldId id="274" r:id="rId28"/>
  </p:sldIdLst>
  <p:sldSz cx="12192000" cy="6858000"/>
  <p:notesSz cx="6858000" cy="9144000"/>
  <p:custDataLst>
    <p:tags r:id="rId31"/>
  </p:custDataLst>
  <p:defaultTextStyle>
    <a:defPPr>
      <a:defRPr lang="en-US"/>
    </a:defPPr>
    <a:lvl1pPr marL="0" algn="l" defTabSz="914460" rtl="0" eaLnBrk="1" latinLnBrk="0" hangingPunct="1">
      <a:defRPr sz="1765" kern="1200">
        <a:solidFill>
          <a:schemeClr val="tx1"/>
        </a:solidFill>
        <a:latin typeface="+mn-lt"/>
        <a:ea typeface="+mn-ea"/>
        <a:cs typeface="+mn-cs"/>
      </a:defRPr>
    </a:lvl1pPr>
    <a:lvl2pPr marL="457230" algn="l" defTabSz="914460" rtl="0" eaLnBrk="1" latinLnBrk="0" hangingPunct="1">
      <a:defRPr sz="1765" kern="1200">
        <a:solidFill>
          <a:schemeClr val="tx1"/>
        </a:solidFill>
        <a:latin typeface="+mn-lt"/>
        <a:ea typeface="+mn-ea"/>
        <a:cs typeface="+mn-cs"/>
      </a:defRPr>
    </a:lvl2pPr>
    <a:lvl3pPr marL="914460" algn="l" defTabSz="914460" rtl="0" eaLnBrk="1" latinLnBrk="0" hangingPunct="1">
      <a:defRPr sz="1765" kern="1200">
        <a:solidFill>
          <a:schemeClr val="tx1"/>
        </a:solidFill>
        <a:latin typeface="+mn-lt"/>
        <a:ea typeface="+mn-ea"/>
        <a:cs typeface="+mn-cs"/>
      </a:defRPr>
    </a:lvl3pPr>
    <a:lvl4pPr marL="1371690" algn="l" defTabSz="914460" rtl="0" eaLnBrk="1" latinLnBrk="0" hangingPunct="1">
      <a:defRPr sz="1765" kern="1200">
        <a:solidFill>
          <a:schemeClr val="tx1"/>
        </a:solidFill>
        <a:latin typeface="+mn-lt"/>
        <a:ea typeface="+mn-ea"/>
        <a:cs typeface="+mn-cs"/>
      </a:defRPr>
    </a:lvl4pPr>
    <a:lvl5pPr marL="1828921" algn="l" defTabSz="914460" rtl="0" eaLnBrk="1" latinLnBrk="0" hangingPunct="1">
      <a:defRPr sz="1765" kern="1200">
        <a:solidFill>
          <a:schemeClr val="tx1"/>
        </a:solidFill>
        <a:latin typeface="+mn-lt"/>
        <a:ea typeface="+mn-ea"/>
        <a:cs typeface="+mn-cs"/>
      </a:defRPr>
    </a:lvl5pPr>
    <a:lvl6pPr marL="2286152" algn="l" defTabSz="914460" rtl="0" eaLnBrk="1" latinLnBrk="0" hangingPunct="1">
      <a:defRPr sz="1765" kern="1200">
        <a:solidFill>
          <a:schemeClr val="tx1"/>
        </a:solidFill>
        <a:latin typeface="+mn-lt"/>
        <a:ea typeface="+mn-ea"/>
        <a:cs typeface="+mn-cs"/>
      </a:defRPr>
    </a:lvl6pPr>
    <a:lvl7pPr marL="2743381" algn="l" defTabSz="914460" rtl="0" eaLnBrk="1" latinLnBrk="0" hangingPunct="1">
      <a:defRPr sz="1765" kern="1200">
        <a:solidFill>
          <a:schemeClr val="tx1"/>
        </a:solidFill>
        <a:latin typeface="+mn-lt"/>
        <a:ea typeface="+mn-ea"/>
        <a:cs typeface="+mn-cs"/>
      </a:defRPr>
    </a:lvl7pPr>
    <a:lvl8pPr marL="3200611" algn="l" defTabSz="914460" rtl="0" eaLnBrk="1" latinLnBrk="0" hangingPunct="1">
      <a:defRPr sz="1765" kern="1200">
        <a:solidFill>
          <a:schemeClr val="tx1"/>
        </a:solidFill>
        <a:latin typeface="+mn-lt"/>
        <a:ea typeface="+mn-ea"/>
        <a:cs typeface="+mn-cs"/>
      </a:defRPr>
    </a:lvl8pPr>
    <a:lvl9pPr marL="3657842" algn="l" defTabSz="914460"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WorkshopPLUS - Windows PowerShell: Tool Building" id="{2EA458D7-D7FC-4A44-9D13-8E81E6083EA7}">
          <p14:sldIdLst>
            <p14:sldId id="256"/>
            <p14:sldId id="257"/>
            <p14:sldId id="258"/>
            <p14:sldId id="259"/>
            <p14:sldId id="260"/>
            <p14:sldId id="261"/>
            <p14:sldId id="262"/>
            <p14:sldId id="263"/>
            <p14:sldId id="264"/>
            <p14:sldId id="265"/>
            <p14:sldId id="266"/>
            <p14:sldId id="267"/>
            <p14:sldId id="268"/>
            <p14:sldId id="269"/>
            <p14:sldId id="270"/>
            <p14:sldId id="271"/>
            <p14:sldId id="272"/>
            <p14:sldId id="273"/>
            <p14:sldId id="27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EC4DA09-A143-8FFA-254E-10C8880A7B10}" name="Saku Uchikawa" initials="SU" userId="Anonymous_Saku Uchikawa" providerId="None"/>
  <p188:author id="{0D76C70B-614B-682B-771C-9F674AD2EF18}" name="Martijn van Geffen" initials="MvG" userId="S::mavangef@microsoft.com::0d8ea57d-840a-4839-b208-007caa94e8f4" providerId="AD"/>
  <p188:author id="{9C54B51B-B11F-3A38-BE84-966141B38A11}" name="Daniele De Angelis" initials="DA" userId="S::dadea@microsoft.com::923242f7-b5ee-4cfe-bd76-24f60a508424" providerId="AD"/>
  <p188:author id="{2EFD172E-C533-0181-99D3-961D485BFB69}" name="Monica Lueder" initials="ML" userId="S-1-5-21-2127521184-1604012920-1887927527-2598260" providerId="AD"/>
  <p188:author id="{65BD7E4F-8142-13A4-5C07-CEF6D3C8332B}" name="Kory Thacher" initials="KT" userId="Kory Thacher" providerId="None"/>
  <p188:author id="{B3D18764-E50E-DF36-9CE8-061B19BE6AF6}" name="Mary Feil-Jacobs" initials="MFJ" userId="Anonymous_Mary Feil-Jacobs" providerId="None"/>
  <p188:author id="{5713B1A0-5F91-B529-7EE0-8C05B7055D6C}" name="Mark Short" initials="MS" userId="S-1-5-21-2127521184-1604012920-1887927527-228755" providerId="AD"/>
  <p188:author id="{903D06F5-1E01-5A4A-2E05-DDFB59BD23BB}" name="Mary Feil-Jacobs" initials="MF" userId="S-1-5-21-2127521184-1604012920-1887927527-65006" providerId="AD"/>
  <p188:author id="{6E4136F9-DE9F-0969-349E-7522608E6DE3}" name="Jonathan Allen (PFE)" initials="J(" userId="S::jonallen@microsoft.com::815e99bf-997e-4f94-a36b-1b5cdf2fa0b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Kory Thacher" initials="KT [2]" lastIdx="16" clrIdx="7">
    <p:extLst>
      <p:ext uri="{19B8F6BF-5375-455C-9EA6-DF929625EA0E}">
        <p15:presenceInfo xmlns:p15="http://schemas.microsoft.com/office/powerpoint/2012/main" userId="77cc85aa95746f61" providerId="Windows Live"/>
      </p:ext>
    </p:extLst>
  </p:cmAuthor>
  <p:cmAuthor id="1" name="Mary Feil-Jacobs" initials="MFJ" lastIdx="43" clrIdx="1"/>
  <p:cmAuthor id="8" name="Tony Radkiewicz" initials="TR" lastIdx="38" clrIdx="8">
    <p:extLst>
      <p:ext uri="{19B8F6BF-5375-455C-9EA6-DF929625EA0E}">
        <p15:presenceInfo xmlns:p15="http://schemas.microsoft.com/office/powerpoint/2012/main" userId="S::anradkie@microsoft.com::9832534a-7e4f-4058-9c41-7f4a5b855c95"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rk Short" initials="MS" lastIdx="3" clrIdx="4">
    <p:extLst>
      <p:ext uri="{19B8F6BF-5375-455C-9EA6-DF929625EA0E}">
        <p15:presenceInfo xmlns:p15="http://schemas.microsoft.com/office/powerpoint/2012/main" userId="S-1-5-21-2127521184-1604012920-1887927527-228755" providerId="AD"/>
      </p:ext>
    </p:extLst>
  </p:cmAuthor>
  <p:cmAuthor id="5" name="Kory Thacher" initials="KT" lastIdx="13" clrIdx="5">
    <p:extLst>
      <p:ext uri="{19B8F6BF-5375-455C-9EA6-DF929625EA0E}">
        <p15:presenceInfo xmlns:p15="http://schemas.microsoft.com/office/powerpoint/2012/main" userId="Kory Thacher" providerId="None"/>
      </p:ext>
    </p:extLst>
  </p:cmAuthor>
  <p:cmAuthor id="6" name="Martijn van Geffen" initials="MvG" lastIdx="6" clrIdx="6">
    <p:extLst>
      <p:ext uri="{19B8F6BF-5375-455C-9EA6-DF929625EA0E}">
        <p15:presenceInfo xmlns:p15="http://schemas.microsoft.com/office/powerpoint/2012/main" userId="S::mavangef@microsoft.com::0d8ea57d-840a-4839-b208-007caa94e8f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5D0C"/>
    <a:srgbClr val="002050"/>
    <a:srgbClr val="D7D7D7"/>
    <a:srgbClr val="5C005C"/>
    <a:srgbClr val="E3008C"/>
    <a:srgbClr val="32145A"/>
    <a:srgbClr val="107C10"/>
    <a:srgbClr val="4F7FB7"/>
    <a:srgbClr val="0078D7"/>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97D0432-B419-4EAC-8F19-25EB093620D9}" v="4" dt="2022-12-05T10:31:31.422"/>
  </p1510:revLst>
</p1510:revInfo>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75966" autoAdjust="0"/>
  </p:normalViewPr>
  <p:slideViewPr>
    <p:cSldViewPr snapToGrid="0">
      <p:cViewPr varScale="1">
        <p:scale>
          <a:sx n="79" d="100"/>
          <a:sy n="79" d="100"/>
        </p:scale>
        <p:origin x="43" y="91"/>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microsoft.com/office/2018/10/relationships/authors" Target="authors.xml"/><Relationship Id="rId21" Type="http://schemas.openxmlformats.org/officeDocument/2006/relationships/slide" Target="slides/slide12.xml"/><Relationship Id="rId34" Type="http://schemas.openxmlformats.org/officeDocument/2006/relationships/viewProps" Target="viewProps.xml"/><Relationship Id="rId7" Type="http://schemas.openxmlformats.org/officeDocument/2006/relationships/customXml" Target="../customXml/item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Master" Target="slideMasters/slideMaster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ry Thacher" userId="995eb0f2-f21c-467c-a947-4f8fc26d0f2e" providerId="ADAL" clId="{C1AE92B2-ECE1-46D3-85EF-C9ED743B993B}"/>
    <pc:docChg chg="custSel modSld">
      <pc:chgData name="Kory Thacher" userId="995eb0f2-f21c-467c-a947-4f8fc26d0f2e" providerId="ADAL" clId="{C1AE92B2-ECE1-46D3-85EF-C9ED743B993B}" dt="2021-05-11T16:34:57.771" v="7"/>
      <pc:docMkLst>
        <pc:docMk/>
      </pc:docMkLst>
      <pc:sldChg chg="addCm modCm">
        <pc:chgData name="Kory Thacher" userId="995eb0f2-f21c-467c-a947-4f8fc26d0f2e" providerId="ADAL" clId="{C1AE92B2-ECE1-46D3-85EF-C9ED743B993B}" dt="2021-05-11T16:33:42.555" v="1"/>
        <pc:sldMkLst>
          <pc:docMk/>
          <pc:sldMk cId="2012352407" sldId="259"/>
        </pc:sldMkLst>
      </pc:sldChg>
      <pc:sldChg chg="addCm modCm">
        <pc:chgData name="Kory Thacher" userId="995eb0f2-f21c-467c-a947-4f8fc26d0f2e" providerId="ADAL" clId="{C1AE92B2-ECE1-46D3-85EF-C9ED743B993B}" dt="2021-05-11T16:34:57.771" v="7"/>
        <pc:sldMkLst>
          <pc:docMk/>
          <pc:sldMk cId="334500391" sldId="263"/>
        </pc:sldMkLst>
      </pc:sldChg>
      <pc:sldChg chg="addCm delCm">
        <pc:chgData name="Kory Thacher" userId="995eb0f2-f21c-467c-a947-4f8fc26d0f2e" providerId="ADAL" clId="{C1AE92B2-ECE1-46D3-85EF-C9ED743B993B}" dt="2021-05-11T16:34:03.984" v="3" actId="1592"/>
        <pc:sldMkLst>
          <pc:docMk/>
          <pc:sldMk cId="2664057939" sldId="264"/>
        </pc:sldMkLst>
      </pc:sldChg>
      <pc:sldChg chg="addCm delCm">
        <pc:chgData name="Kory Thacher" userId="995eb0f2-f21c-467c-a947-4f8fc26d0f2e" providerId="ADAL" clId="{C1AE92B2-ECE1-46D3-85EF-C9ED743B993B}" dt="2021-05-11T16:34:14.574" v="5" actId="1592"/>
        <pc:sldMkLst>
          <pc:docMk/>
          <pc:sldMk cId="2909297645" sldId="265"/>
        </pc:sldMkLst>
      </pc:sldChg>
    </pc:docChg>
  </pc:docChgLst>
  <pc:docChgLst>
    <pc:chgData name="Tony Radkiewicz" userId="9832534a-7e4f-4058-9c41-7f4a5b855c95" providerId="ADAL" clId="{D2E3C575-E6E7-4A26-BCA9-80C0412D9265}"/>
    <pc:docChg chg="custSel modSld">
      <pc:chgData name="Tony Radkiewicz" userId="9832534a-7e4f-4058-9c41-7f4a5b855c95" providerId="ADAL" clId="{D2E3C575-E6E7-4A26-BCA9-80C0412D9265}" dt="2022-06-28T16:00:04.162" v="11"/>
      <pc:docMkLst>
        <pc:docMk/>
      </pc:docMkLst>
      <pc:sldChg chg="addCm modCm">
        <pc:chgData name="Tony Radkiewicz" userId="9832534a-7e4f-4058-9c41-7f4a5b855c95" providerId="ADAL" clId="{D2E3C575-E6E7-4A26-BCA9-80C0412D9265}" dt="2022-06-28T15:58:14.758" v="2"/>
        <pc:sldMkLst>
          <pc:docMk/>
          <pc:sldMk cId="3075297304" sldId="260"/>
        </pc:sldMkLst>
      </pc:sldChg>
      <pc:sldChg chg="addCm modCm">
        <pc:chgData name="Tony Radkiewicz" userId="9832534a-7e4f-4058-9c41-7f4a5b855c95" providerId="ADAL" clId="{D2E3C575-E6E7-4A26-BCA9-80C0412D9265}" dt="2022-06-28T15:58:51.810" v="4"/>
        <pc:sldMkLst>
          <pc:docMk/>
          <pc:sldMk cId="541897890" sldId="262"/>
        </pc:sldMkLst>
      </pc:sldChg>
      <pc:sldChg chg="addCm modCm">
        <pc:chgData name="Tony Radkiewicz" userId="9832534a-7e4f-4058-9c41-7f4a5b855c95" providerId="ADAL" clId="{D2E3C575-E6E7-4A26-BCA9-80C0412D9265}" dt="2022-06-28T15:59:18.533" v="6"/>
        <pc:sldMkLst>
          <pc:docMk/>
          <pc:sldMk cId="2664057939" sldId="264"/>
        </pc:sldMkLst>
      </pc:sldChg>
      <pc:sldChg chg="addCm delCm modCm">
        <pc:chgData name="Tony Radkiewicz" userId="9832534a-7e4f-4058-9c41-7f4a5b855c95" providerId="ADAL" clId="{D2E3C575-E6E7-4A26-BCA9-80C0412D9265}" dt="2022-06-28T16:00:04.162" v="11"/>
        <pc:sldMkLst>
          <pc:docMk/>
          <pc:sldMk cId="2909297645" sldId="265"/>
        </pc:sldMkLst>
      </pc:sldChg>
    </pc:docChg>
  </pc:docChgLst>
  <pc:docChgLst>
    <pc:chgData name="Martijn van Geffen" userId="0d8ea57d-840a-4839-b208-007caa94e8f4" providerId="ADAL" clId="{897D0432-B419-4EAC-8F19-25EB093620D9}"/>
    <pc:docChg chg="custSel modSld">
      <pc:chgData name="Martijn van Geffen" userId="0d8ea57d-840a-4839-b208-007caa94e8f4" providerId="ADAL" clId="{897D0432-B419-4EAC-8F19-25EB093620D9}" dt="2022-12-05T10:31:52.152" v="9" actId="1076"/>
      <pc:docMkLst>
        <pc:docMk/>
      </pc:docMkLst>
      <pc:sldChg chg="modSp addCm">
        <pc:chgData name="Martijn van Geffen" userId="0d8ea57d-840a-4839-b208-007caa94e8f4" providerId="ADAL" clId="{897D0432-B419-4EAC-8F19-25EB093620D9}" dt="2022-12-05T10:29:06.610" v="3" actId="1589"/>
        <pc:sldMkLst>
          <pc:docMk/>
          <pc:sldMk cId="2012352407" sldId="259"/>
        </pc:sldMkLst>
        <pc:graphicFrameChg chg="mod">
          <ac:chgData name="Martijn van Geffen" userId="0d8ea57d-840a-4839-b208-007caa94e8f4" providerId="ADAL" clId="{897D0432-B419-4EAC-8F19-25EB093620D9}" dt="2022-12-05T10:27:21.876" v="2" actId="12100"/>
          <ac:graphicFrameMkLst>
            <pc:docMk/>
            <pc:sldMk cId="2012352407" sldId="259"/>
            <ac:graphicFrameMk id="2" creationId="{BC482BC7-922E-4B21-AC4B-4E904CC6B848}"/>
          </ac:graphicFrameMkLst>
        </pc:graphicFrameChg>
      </pc:sldChg>
      <pc:sldChg chg="addCm modCm">
        <pc:chgData name="Martijn van Geffen" userId="0d8ea57d-840a-4839-b208-007caa94e8f4" providerId="ADAL" clId="{897D0432-B419-4EAC-8F19-25EB093620D9}" dt="2022-12-05T10:31:31.422" v="8"/>
        <pc:sldMkLst>
          <pc:docMk/>
          <pc:sldMk cId="2305500538" sldId="268"/>
        </pc:sldMkLst>
      </pc:sldChg>
      <pc:sldChg chg="modSp mod">
        <pc:chgData name="Martijn van Geffen" userId="0d8ea57d-840a-4839-b208-007caa94e8f4" providerId="ADAL" clId="{897D0432-B419-4EAC-8F19-25EB093620D9}" dt="2022-12-05T10:31:52.152" v="9" actId="1076"/>
        <pc:sldMkLst>
          <pc:docMk/>
          <pc:sldMk cId="3313010212" sldId="269"/>
        </pc:sldMkLst>
        <pc:spChg chg="mod">
          <ac:chgData name="Martijn van Geffen" userId="0d8ea57d-840a-4839-b208-007caa94e8f4" providerId="ADAL" clId="{897D0432-B419-4EAC-8F19-25EB093620D9}" dt="2022-12-05T10:31:52.152" v="9" actId="1076"/>
          <ac:spMkLst>
            <pc:docMk/>
            <pc:sldMk cId="3313010212" sldId="269"/>
            <ac:spMk id="9" creationId="{5E803682-CFA4-4CCC-882B-19C35785BB9E}"/>
          </ac:spMkLst>
        </pc:spChg>
        <pc:graphicFrameChg chg="mod">
          <ac:chgData name="Martijn van Geffen" userId="0d8ea57d-840a-4839-b208-007caa94e8f4" providerId="ADAL" clId="{897D0432-B419-4EAC-8F19-25EB093620D9}" dt="2022-12-05T10:31:52.152" v="9" actId="1076"/>
          <ac:graphicFrameMkLst>
            <pc:docMk/>
            <pc:sldMk cId="3313010212" sldId="269"/>
            <ac:graphicFrameMk id="8" creationId="{4A1231B7-B8AA-4DB9-A916-3D1B723114DD}"/>
          </ac:graphicFrameMkLst>
        </pc:graphicFrameChg>
        <pc:graphicFrameChg chg="mod">
          <ac:chgData name="Martijn van Geffen" userId="0d8ea57d-840a-4839-b208-007caa94e8f4" providerId="ADAL" clId="{897D0432-B419-4EAC-8F19-25EB093620D9}" dt="2022-12-05T10:30:51.559" v="6" actId="1076"/>
          <ac:graphicFrameMkLst>
            <pc:docMk/>
            <pc:sldMk cId="3313010212" sldId="269"/>
            <ac:graphicFrameMk id="12" creationId="{5AB4DE08-BE59-427C-A5CA-D7EE55A0F398}"/>
          </ac:graphicFrameMkLst>
        </pc:graphicFrame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svg"/><Relationship Id="rId1" Type="http://schemas.openxmlformats.org/officeDocument/2006/relationships/image" Target="../media/image5.png"/><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diagrams/_rels/data3.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bin"/><Relationship Id="rId1" Type="http://schemas.openxmlformats.org/officeDocument/2006/relationships/image" Target="../media/image14.png"/><Relationship Id="rId6" Type="http://schemas.openxmlformats.org/officeDocument/2006/relationships/image" Target="../media/image19.bin"/><Relationship Id="rId5" Type="http://schemas.openxmlformats.org/officeDocument/2006/relationships/image" Target="../media/image18.png"/><Relationship Id="rId4" Type="http://schemas.openxmlformats.org/officeDocument/2006/relationships/image" Target="../media/image17.bin"/></Relationships>
</file>

<file path=ppt/diagrams/_rels/data4.xml.rels><?xml version="1.0" encoding="UTF-8" standalone="yes"?>
<Relationships xmlns="http://schemas.openxmlformats.org/package/2006/relationships"><Relationship Id="rId8" Type="http://schemas.openxmlformats.org/officeDocument/2006/relationships/image" Target="../media/image30.bin"/><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bin"/><Relationship Id="rId1" Type="http://schemas.openxmlformats.org/officeDocument/2006/relationships/image" Target="../media/image23.png"/><Relationship Id="rId6" Type="http://schemas.openxmlformats.org/officeDocument/2006/relationships/image" Target="../media/image28.bin"/><Relationship Id="rId5" Type="http://schemas.openxmlformats.org/officeDocument/2006/relationships/image" Target="../media/image27.png"/><Relationship Id="rId10" Type="http://schemas.openxmlformats.org/officeDocument/2006/relationships/image" Target="../media/image32.bin"/><Relationship Id="rId4" Type="http://schemas.openxmlformats.org/officeDocument/2006/relationships/image" Target="../media/image26.bin"/><Relationship Id="rId9" Type="http://schemas.openxmlformats.org/officeDocument/2006/relationships/image" Target="../media/image31.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svg"/><Relationship Id="rId1" Type="http://schemas.openxmlformats.org/officeDocument/2006/relationships/image" Target="../media/image5.png"/><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diagrams/_rels/drawing3.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bin"/><Relationship Id="rId1" Type="http://schemas.openxmlformats.org/officeDocument/2006/relationships/image" Target="../media/image14.png"/><Relationship Id="rId6" Type="http://schemas.openxmlformats.org/officeDocument/2006/relationships/image" Target="../media/image19.bin"/><Relationship Id="rId5" Type="http://schemas.openxmlformats.org/officeDocument/2006/relationships/image" Target="../media/image18.png"/><Relationship Id="rId4" Type="http://schemas.openxmlformats.org/officeDocument/2006/relationships/image" Target="../media/image17.bin"/></Relationships>
</file>

<file path=ppt/diagrams/_rels/drawing4.xml.rels><?xml version="1.0" encoding="UTF-8" standalone="yes"?>
<Relationships xmlns="http://schemas.openxmlformats.org/package/2006/relationships"><Relationship Id="rId8" Type="http://schemas.openxmlformats.org/officeDocument/2006/relationships/image" Target="../media/image30.bin"/><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bin"/><Relationship Id="rId1" Type="http://schemas.openxmlformats.org/officeDocument/2006/relationships/image" Target="../media/image23.png"/><Relationship Id="rId6" Type="http://schemas.openxmlformats.org/officeDocument/2006/relationships/image" Target="../media/image28.bin"/><Relationship Id="rId5" Type="http://schemas.openxmlformats.org/officeDocument/2006/relationships/image" Target="../media/image27.png"/><Relationship Id="rId10" Type="http://schemas.openxmlformats.org/officeDocument/2006/relationships/image" Target="../media/image32.bin"/><Relationship Id="rId4" Type="http://schemas.openxmlformats.org/officeDocument/2006/relationships/image" Target="../media/image26.bin"/><Relationship Id="rId9"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4621CC-1224-4AC3-B1E8-DDD8B9E2B49D}" type="doc">
      <dgm:prSet loTypeId="urn:microsoft.com/office/officeart/2005/8/layout/vList3" loCatId="picture" qsTypeId="urn:microsoft.com/office/officeart/2005/8/quickstyle/simple5" qsCatId="simple" csTypeId="urn:microsoft.com/office/officeart/2005/8/colors/accent1_1" csCatId="accent1" phldr="1"/>
      <dgm:spPr/>
      <dgm:t>
        <a:bodyPr/>
        <a:lstStyle/>
        <a:p>
          <a:endParaRPr lang="en-US"/>
        </a:p>
      </dgm:t>
    </dgm:pt>
    <dgm:pt modelId="{D3ED0CE2-D065-4926-AE3F-82704DD7A4A2}">
      <dgm:prSet/>
      <dgm:spPr/>
      <dgm:t>
        <a:bodyPr/>
        <a:lstStyle/>
        <a:p>
          <a:r>
            <a:rPr lang="en-US" baseline="0" dirty="0"/>
            <a:t>Cmdlets are written Verb-Noun</a:t>
          </a:r>
          <a:endParaRPr lang="en-US" dirty="0"/>
        </a:p>
      </dgm:t>
    </dgm:pt>
    <dgm:pt modelId="{34CAC4F6-4C78-4128-A00E-F32F72875543}" type="parTrans" cxnId="{883457B7-E0B7-49DA-81C2-B95E3D3B654D}">
      <dgm:prSet/>
      <dgm:spPr/>
      <dgm:t>
        <a:bodyPr/>
        <a:lstStyle/>
        <a:p>
          <a:endParaRPr lang="en-US"/>
        </a:p>
      </dgm:t>
    </dgm:pt>
    <dgm:pt modelId="{E396E5A4-5923-4D1B-B1FB-F50F6014B059}" type="sibTrans" cxnId="{883457B7-E0B7-49DA-81C2-B95E3D3B654D}">
      <dgm:prSet/>
      <dgm:spPr/>
      <dgm:t>
        <a:bodyPr/>
        <a:lstStyle/>
        <a:p>
          <a:endParaRPr lang="en-US"/>
        </a:p>
      </dgm:t>
    </dgm:pt>
    <dgm:pt modelId="{5A9BDE49-C57A-4F87-9991-60D5C2F2259A}">
      <dgm:prSet/>
      <dgm:spPr/>
      <dgm:t>
        <a:bodyPr/>
        <a:lstStyle/>
        <a:p>
          <a:r>
            <a:rPr lang="en-US" baseline="0" dirty="0"/>
            <a:t>Parameters can accept data to change behavior</a:t>
          </a:r>
          <a:endParaRPr lang="en-US" dirty="0"/>
        </a:p>
      </dgm:t>
    </dgm:pt>
    <dgm:pt modelId="{92F8704C-9629-4081-BF4B-2E03F553685D}" type="parTrans" cxnId="{998B93C3-2F27-40E8-AFFE-0F58C9D82716}">
      <dgm:prSet/>
      <dgm:spPr/>
      <dgm:t>
        <a:bodyPr/>
        <a:lstStyle/>
        <a:p>
          <a:endParaRPr lang="en-US"/>
        </a:p>
      </dgm:t>
    </dgm:pt>
    <dgm:pt modelId="{5820F7BA-5FC6-463C-A3DA-6C43219AC519}" type="sibTrans" cxnId="{998B93C3-2F27-40E8-AFFE-0F58C9D82716}">
      <dgm:prSet/>
      <dgm:spPr/>
      <dgm:t>
        <a:bodyPr/>
        <a:lstStyle/>
        <a:p>
          <a:endParaRPr lang="en-US"/>
        </a:p>
      </dgm:t>
    </dgm:pt>
    <dgm:pt modelId="{6E17B24E-2A8B-4691-8BCB-A48588AF6708}">
      <dgm:prSet/>
      <dgm:spPr/>
      <dgm:t>
        <a:bodyPr/>
        <a:lstStyle/>
        <a:p>
          <a:r>
            <a:rPr lang="en-US" baseline="0" dirty="0"/>
            <a:t>Parameters can be positional </a:t>
          </a:r>
          <a:endParaRPr lang="en-US" dirty="0"/>
        </a:p>
      </dgm:t>
    </dgm:pt>
    <dgm:pt modelId="{899E2660-40C5-4A96-9042-D465B0280590}" type="parTrans" cxnId="{B97E4DE3-67AF-4340-855F-B51C7A2AE0A3}">
      <dgm:prSet/>
      <dgm:spPr/>
      <dgm:t>
        <a:bodyPr/>
        <a:lstStyle/>
        <a:p>
          <a:endParaRPr lang="en-US"/>
        </a:p>
      </dgm:t>
    </dgm:pt>
    <dgm:pt modelId="{3C4BCF93-1FC9-4F4B-AEF1-C0366B67CB11}" type="sibTrans" cxnId="{B97E4DE3-67AF-4340-855F-B51C7A2AE0A3}">
      <dgm:prSet/>
      <dgm:spPr/>
      <dgm:t>
        <a:bodyPr/>
        <a:lstStyle/>
        <a:p>
          <a:endParaRPr lang="en-US"/>
        </a:p>
      </dgm:t>
    </dgm:pt>
    <dgm:pt modelId="{757A7652-B2D4-4A63-89FF-73E7B956D6EC}">
      <dgm:prSet/>
      <dgm:spPr/>
      <dgm:t>
        <a:bodyPr/>
        <a:lstStyle/>
        <a:p>
          <a:r>
            <a:rPr lang="en-US" baseline="0" dirty="0"/>
            <a:t>View syntax with </a:t>
          </a:r>
          <a:r>
            <a:rPr lang="en-US" i="1" baseline="0" dirty="0"/>
            <a:t>Get-Command &lt;cmdlet&gt; -syntax</a:t>
          </a:r>
          <a:endParaRPr lang="en-US" dirty="0"/>
        </a:p>
      </dgm:t>
    </dgm:pt>
    <dgm:pt modelId="{E3B6D453-EC2F-438F-8352-FF10D6AAA71A}" type="parTrans" cxnId="{1F4A303E-FEEB-43CE-AE8C-35AB5250892D}">
      <dgm:prSet/>
      <dgm:spPr/>
      <dgm:t>
        <a:bodyPr/>
        <a:lstStyle/>
        <a:p>
          <a:endParaRPr lang="en-US"/>
        </a:p>
      </dgm:t>
    </dgm:pt>
    <dgm:pt modelId="{045C9009-C8E8-4F3E-BEED-0C8C63259025}" type="sibTrans" cxnId="{1F4A303E-FEEB-43CE-AE8C-35AB5250892D}">
      <dgm:prSet/>
      <dgm:spPr/>
      <dgm:t>
        <a:bodyPr/>
        <a:lstStyle/>
        <a:p>
          <a:endParaRPr lang="en-US"/>
        </a:p>
      </dgm:t>
    </dgm:pt>
    <dgm:pt modelId="{6A4F81D4-A04D-446D-9296-A893360B3E94}" type="pres">
      <dgm:prSet presAssocID="{554621CC-1224-4AC3-B1E8-DDD8B9E2B49D}" presName="linearFlow" presStyleCnt="0">
        <dgm:presLayoutVars>
          <dgm:dir/>
          <dgm:resizeHandles val="exact"/>
        </dgm:presLayoutVars>
      </dgm:prSet>
      <dgm:spPr/>
    </dgm:pt>
    <dgm:pt modelId="{D3921029-AEFB-4D83-A0D2-F93CEF25B9C6}" type="pres">
      <dgm:prSet presAssocID="{D3ED0CE2-D065-4926-AE3F-82704DD7A4A2}" presName="composite" presStyleCnt="0"/>
      <dgm:spPr/>
    </dgm:pt>
    <dgm:pt modelId="{B228ABE7-96D5-4342-ABDF-6D30AFCB65DB}" type="pres">
      <dgm:prSet presAssocID="{D3ED0CE2-D065-4926-AE3F-82704DD7A4A2}" presName="imgShp"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Scribble"/>
        </a:ext>
      </dgm:extLst>
    </dgm:pt>
    <dgm:pt modelId="{B22E214F-7F54-4A43-AA1D-A58D42C0BD68}" type="pres">
      <dgm:prSet presAssocID="{D3ED0CE2-D065-4926-AE3F-82704DD7A4A2}" presName="txShp" presStyleLbl="node1" presStyleIdx="0" presStyleCnt="4" custScaleX="109817" custLinFactNeighborY="-2070">
        <dgm:presLayoutVars>
          <dgm:bulletEnabled val="1"/>
        </dgm:presLayoutVars>
      </dgm:prSet>
      <dgm:spPr/>
    </dgm:pt>
    <dgm:pt modelId="{C116E268-4A96-43CC-AE0D-E6F40DA73F35}" type="pres">
      <dgm:prSet presAssocID="{E396E5A4-5923-4D1B-B1FB-F50F6014B059}" presName="spacing" presStyleCnt="0"/>
      <dgm:spPr/>
    </dgm:pt>
    <dgm:pt modelId="{082ED01D-E866-4707-B8BB-C403AFBDBF30}" type="pres">
      <dgm:prSet presAssocID="{5A9BDE49-C57A-4F87-9991-60D5C2F2259A}" presName="composite" presStyleCnt="0"/>
      <dgm:spPr/>
    </dgm:pt>
    <dgm:pt modelId="{5EC120C6-01CE-444F-99EF-C8D23CC31510}" type="pres">
      <dgm:prSet presAssocID="{5A9BDE49-C57A-4F87-9991-60D5C2F2259A}" presName="imgShp" presStyleLbl="fgImgPlac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Usb Stick"/>
        </a:ext>
      </dgm:extLst>
    </dgm:pt>
    <dgm:pt modelId="{957873F5-7C75-41A3-895E-9E37B5ED7759}" type="pres">
      <dgm:prSet presAssocID="{5A9BDE49-C57A-4F87-9991-60D5C2F2259A}" presName="txShp" presStyleLbl="node1" presStyleIdx="1" presStyleCnt="4" custScaleX="109817">
        <dgm:presLayoutVars>
          <dgm:bulletEnabled val="1"/>
        </dgm:presLayoutVars>
      </dgm:prSet>
      <dgm:spPr/>
    </dgm:pt>
    <dgm:pt modelId="{172D190B-D3A7-489A-A570-AEF7307B2A52}" type="pres">
      <dgm:prSet presAssocID="{5820F7BA-5FC6-463C-A3DA-6C43219AC519}" presName="spacing" presStyleCnt="0"/>
      <dgm:spPr/>
    </dgm:pt>
    <dgm:pt modelId="{1416AE32-2967-4119-9BE2-BC95F3AF0956}" type="pres">
      <dgm:prSet presAssocID="{757A7652-B2D4-4A63-89FF-73E7B956D6EC}" presName="composite" presStyleCnt="0"/>
      <dgm:spPr/>
    </dgm:pt>
    <dgm:pt modelId="{E7F29564-E0CC-45DE-B29F-0BB0CA71462C}" type="pres">
      <dgm:prSet presAssocID="{757A7652-B2D4-4A63-89FF-73E7B956D6EC}" presName="imgShp" presStyleLbl="fgImgPlac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Eye"/>
        </a:ext>
      </dgm:extLst>
    </dgm:pt>
    <dgm:pt modelId="{F12F396C-F7CB-4299-9DBD-BBA183A057B9}" type="pres">
      <dgm:prSet presAssocID="{757A7652-B2D4-4A63-89FF-73E7B956D6EC}" presName="txShp" presStyleLbl="node1" presStyleIdx="2" presStyleCnt="4" custScaleX="109817">
        <dgm:presLayoutVars>
          <dgm:bulletEnabled val="1"/>
        </dgm:presLayoutVars>
      </dgm:prSet>
      <dgm:spPr/>
    </dgm:pt>
    <dgm:pt modelId="{8939DD77-4313-4CDC-B70F-A916F484134F}" type="pres">
      <dgm:prSet presAssocID="{045C9009-C8E8-4F3E-BEED-0C8C63259025}" presName="spacing" presStyleCnt="0"/>
      <dgm:spPr/>
    </dgm:pt>
    <dgm:pt modelId="{CFABC5E5-72BC-4DF7-8808-F31655C1F3EB}" type="pres">
      <dgm:prSet presAssocID="{6E17B24E-2A8B-4691-8BCB-A48588AF6708}" presName="composite" presStyleCnt="0"/>
      <dgm:spPr/>
    </dgm:pt>
    <dgm:pt modelId="{2679D3A3-6ECF-481D-963D-BA5BC440CE5B}" type="pres">
      <dgm:prSet presAssocID="{6E17B24E-2A8B-4691-8BCB-A48588AF6708}" presName="imgShp" presStyleLbl="fgImgPlac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Compass"/>
        </a:ext>
      </dgm:extLst>
    </dgm:pt>
    <dgm:pt modelId="{DBD3830E-3C5E-4BA5-9401-1F4B68497504}" type="pres">
      <dgm:prSet presAssocID="{6E17B24E-2A8B-4691-8BCB-A48588AF6708}" presName="txShp" presStyleLbl="node1" presStyleIdx="3" presStyleCnt="4" custScaleX="109817">
        <dgm:presLayoutVars>
          <dgm:bulletEnabled val="1"/>
        </dgm:presLayoutVars>
      </dgm:prSet>
      <dgm:spPr/>
    </dgm:pt>
  </dgm:ptLst>
  <dgm:cxnLst>
    <dgm:cxn modelId="{60ED840E-D0AA-4AC0-B8FB-F8CFE1D4E088}" type="presOf" srcId="{757A7652-B2D4-4A63-89FF-73E7B956D6EC}" destId="{F12F396C-F7CB-4299-9DBD-BBA183A057B9}" srcOrd="0" destOrd="0" presId="urn:microsoft.com/office/officeart/2005/8/layout/vList3"/>
    <dgm:cxn modelId="{B1362C1D-170A-4462-8640-D1066A867183}" type="presOf" srcId="{6E17B24E-2A8B-4691-8BCB-A48588AF6708}" destId="{DBD3830E-3C5E-4BA5-9401-1F4B68497504}" srcOrd="0" destOrd="0" presId="urn:microsoft.com/office/officeart/2005/8/layout/vList3"/>
    <dgm:cxn modelId="{8F0AD63B-CEC8-4E96-860E-F4A302B374F3}" type="presOf" srcId="{5A9BDE49-C57A-4F87-9991-60D5C2F2259A}" destId="{957873F5-7C75-41A3-895E-9E37B5ED7759}" srcOrd="0" destOrd="0" presId="urn:microsoft.com/office/officeart/2005/8/layout/vList3"/>
    <dgm:cxn modelId="{1F4A303E-FEEB-43CE-AE8C-35AB5250892D}" srcId="{554621CC-1224-4AC3-B1E8-DDD8B9E2B49D}" destId="{757A7652-B2D4-4A63-89FF-73E7B956D6EC}" srcOrd="2" destOrd="0" parTransId="{E3B6D453-EC2F-438F-8352-FF10D6AAA71A}" sibTransId="{045C9009-C8E8-4F3E-BEED-0C8C63259025}"/>
    <dgm:cxn modelId="{525D4D5C-EE48-4282-84C9-52E40F209B59}" type="presOf" srcId="{D3ED0CE2-D065-4926-AE3F-82704DD7A4A2}" destId="{B22E214F-7F54-4A43-AA1D-A58D42C0BD68}" srcOrd="0" destOrd="0" presId="urn:microsoft.com/office/officeart/2005/8/layout/vList3"/>
    <dgm:cxn modelId="{CDE52948-E66F-49ED-8418-8A84F6AAC672}" type="presOf" srcId="{554621CC-1224-4AC3-B1E8-DDD8B9E2B49D}" destId="{6A4F81D4-A04D-446D-9296-A893360B3E94}" srcOrd="0" destOrd="0" presId="urn:microsoft.com/office/officeart/2005/8/layout/vList3"/>
    <dgm:cxn modelId="{883457B7-E0B7-49DA-81C2-B95E3D3B654D}" srcId="{554621CC-1224-4AC3-B1E8-DDD8B9E2B49D}" destId="{D3ED0CE2-D065-4926-AE3F-82704DD7A4A2}" srcOrd="0" destOrd="0" parTransId="{34CAC4F6-4C78-4128-A00E-F32F72875543}" sibTransId="{E396E5A4-5923-4D1B-B1FB-F50F6014B059}"/>
    <dgm:cxn modelId="{998B93C3-2F27-40E8-AFFE-0F58C9D82716}" srcId="{554621CC-1224-4AC3-B1E8-DDD8B9E2B49D}" destId="{5A9BDE49-C57A-4F87-9991-60D5C2F2259A}" srcOrd="1" destOrd="0" parTransId="{92F8704C-9629-4081-BF4B-2E03F553685D}" sibTransId="{5820F7BA-5FC6-463C-A3DA-6C43219AC519}"/>
    <dgm:cxn modelId="{B97E4DE3-67AF-4340-855F-B51C7A2AE0A3}" srcId="{554621CC-1224-4AC3-B1E8-DDD8B9E2B49D}" destId="{6E17B24E-2A8B-4691-8BCB-A48588AF6708}" srcOrd="3" destOrd="0" parTransId="{899E2660-40C5-4A96-9042-D465B0280590}" sibTransId="{3C4BCF93-1FC9-4F4B-AEF1-C0366B67CB11}"/>
    <dgm:cxn modelId="{0C8FE35B-EEE9-416E-8B1D-FDC0D68CA99D}" type="presParOf" srcId="{6A4F81D4-A04D-446D-9296-A893360B3E94}" destId="{D3921029-AEFB-4D83-A0D2-F93CEF25B9C6}" srcOrd="0" destOrd="0" presId="urn:microsoft.com/office/officeart/2005/8/layout/vList3"/>
    <dgm:cxn modelId="{1F8F208E-8351-4688-9BC9-A65A4E390B79}" type="presParOf" srcId="{D3921029-AEFB-4D83-A0D2-F93CEF25B9C6}" destId="{B228ABE7-96D5-4342-ABDF-6D30AFCB65DB}" srcOrd="0" destOrd="0" presId="urn:microsoft.com/office/officeart/2005/8/layout/vList3"/>
    <dgm:cxn modelId="{F3E49CD9-871A-4418-A2EE-C2C55FFABD06}" type="presParOf" srcId="{D3921029-AEFB-4D83-A0D2-F93CEF25B9C6}" destId="{B22E214F-7F54-4A43-AA1D-A58D42C0BD68}" srcOrd="1" destOrd="0" presId="urn:microsoft.com/office/officeart/2005/8/layout/vList3"/>
    <dgm:cxn modelId="{F9867084-88AC-437B-BBB3-1E99934FF582}" type="presParOf" srcId="{6A4F81D4-A04D-446D-9296-A893360B3E94}" destId="{C116E268-4A96-43CC-AE0D-E6F40DA73F35}" srcOrd="1" destOrd="0" presId="urn:microsoft.com/office/officeart/2005/8/layout/vList3"/>
    <dgm:cxn modelId="{959C3C6A-00B1-4AA4-955C-66B8977DD545}" type="presParOf" srcId="{6A4F81D4-A04D-446D-9296-A893360B3E94}" destId="{082ED01D-E866-4707-B8BB-C403AFBDBF30}" srcOrd="2" destOrd="0" presId="urn:microsoft.com/office/officeart/2005/8/layout/vList3"/>
    <dgm:cxn modelId="{0AE5B4E6-F44A-44E1-B059-E01E0FF15362}" type="presParOf" srcId="{082ED01D-E866-4707-B8BB-C403AFBDBF30}" destId="{5EC120C6-01CE-444F-99EF-C8D23CC31510}" srcOrd="0" destOrd="0" presId="urn:microsoft.com/office/officeart/2005/8/layout/vList3"/>
    <dgm:cxn modelId="{701E620E-3C20-47EB-8D26-E5DD04833750}" type="presParOf" srcId="{082ED01D-E866-4707-B8BB-C403AFBDBF30}" destId="{957873F5-7C75-41A3-895E-9E37B5ED7759}" srcOrd="1" destOrd="0" presId="urn:microsoft.com/office/officeart/2005/8/layout/vList3"/>
    <dgm:cxn modelId="{BF094A98-6EDE-4BDC-8904-1DDF0013E13B}" type="presParOf" srcId="{6A4F81D4-A04D-446D-9296-A893360B3E94}" destId="{172D190B-D3A7-489A-A570-AEF7307B2A52}" srcOrd="3" destOrd="0" presId="urn:microsoft.com/office/officeart/2005/8/layout/vList3"/>
    <dgm:cxn modelId="{600BE93D-5868-4680-B51E-EF737B39CDCB}" type="presParOf" srcId="{6A4F81D4-A04D-446D-9296-A893360B3E94}" destId="{1416AE32-2967-4119-9BE2-BC95F3AF0956}" srcOrd="4" destOrd="0" presId="urn:microsoft.com/office/officeart/2005/8/layout/vList3"/>
    <dgm:cxn modelId="{39C38BA1-7785-4F33-AD08-2E1C9BE9BA88}" type="presParOf" srcId="{1416AE32-2967-4119-9BE2-BC95F3AF0956}" destId="{E7F29564-E0CC-45DE-B29F-0BB0CA71462C}" srcOrd="0" destOrd="0" presId="urn:microsoft.com/office/officeart/2005/8/layout/vList3"/>
    <dgm:cxn modelId="{45E849E7-B478-4062-8140-C97E322B7664}" type="presParOf" srcId="{1416AE32-2967-4119-9BE2-BC95F3AF0956}" destId="{F12F396C-F7CB-4299-9DBD-BBA183A057B9}" srcOrd="1" destOrd="0" presId="urn:microsoft.com/office/officeart/2005/8/layout/vList3"/>
    <dgm:cxn modelId="{5ED6601E-19F9-41AA-A78F-1C92F752ED28}" type="presParOf" srcId="{6A4F81D4-A04D-446D-9296-A893360B3E94}" destId="{8939DD77-4313-4CDC-B70F-A916F484134F}" srcOrd="5" destOrd="0" presId="urn:microsoft.com/office/officeart/2005/8/layout/vList3"/>
    <dgm:cxn modelId="{DFC2E8A8-0ADB-4B59-AB50-94CCDF8D0493}" type="presParOf" srcId="{6A4F81D4-A04D-446D-9296-A893360B3E94}" destId="{CFABC5E5-72BC-4DF7-8808-F31655C1F3EB}" srcOrd="6" destOrd="0" presId="urn:microsoft.com/office/officeart/2005/8/layout/vList3"/>
    <dgm:cxn modelId="{3B9E7EF1-2FEA-444D-9B89-22A3BAADAF09}" type="presParOf" srcId="{CFABC5E5-72BC-4DF7-8808-F31655C1F3EB}" destId="{2679D3A3-6ECF-481D-963D-BA5BC440CE5B}" srcOrd="0" destOrd="0" presId="urn:microsoft.com/office/officeart/2005/8/layout/vList3"/>
    <dgm:cxn modelId="{9397E742-7399-44BE-8DFA-FDFA84A00E5F}" type="presParOf" srcId="{CFABC5E5-72BC-4DF7-8808-F31655C1F3EB}" destId="{DBD3830E-3C5E-4BA5-9401-1F4B68497504}" srcOrd="1" destOrd="0" presId="urn:microsoft.com/office/officeart/2005/8/layout/v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2A80E6D-0895-4610-9C96-CD21BA1401BA}" type="doc">
      <dgm:prSet loTypeId="urn:microsoft.com/office/officeart/2005/8/layout/hierarchy3" loCatId="list" qsTypeId="urn:microsoft.com/office/officeart/2005/8/quickstyle/simple1" qsCatId="simple" csTypeId="urn:microsoft.com/office/officeart/2005/8/colors/accent2_2" csCatId="accent2" phldr="1"/>
      <dgm:spPr/>
      <dgm:t>
        <a:bodyPr/>
        <a:lstStyle/>
        <a:p>
          <a:endParaRPr lang="en-US"/>
        </a:p>
      </dgm:t>
    </dgm:pt>
    <dgm:pt modelId="{D5968142-F929-41D0-994E-DD1F5A76A423}">
      <dgm:prSet custT="1"/>
      <dgm:spPr/>
      <dgm:t>
        <a:bodyPr/>
        <a:lstStyle/>
        <a:p>
          <a:r>
            <a:rPr lang="en-AU" sz="2000" b="1" baseline="0" dirty="0"/>
            <a:t>Switch</a:t>
          </a:r>
          <a:endParaRPr lang="en-US" sz="2000" dirty="0"/>
        </a:p>
      </dgm:t>
    </dgm:pt>
    <dgm:pt modelId="{21328996-CCE2-4F27-83CD-F4F1C35A70D5}" type="parTrans" cxnId="{4B6884F0-A1D8-46E9-A81B-E311AE1BF570}">
      <dgm:prSet/>
      <dgm:spPr/>
      <dgm:t>
        <a:bodyPr/>
        <a:lstStyle/>
        <a:p>
          <a:endParaRPr lang="en-US"/>
        </a:p>
      </dgm:t>
    </dgm:pt>
    <dgm:pt modelId="{3368DF91-8FF1-4C61-9F2A-18D0823817C2}" type="sibTrans" cxnId="{4B6884F0-A1D8-46E9-A81B-E311AE1BF570}">
      <dgm:prSet/>
      <dgm:spPr/>
      <dgm:t>
        <a:bodyPr/>
        <a:lstStyle/>
        <a:p>
          <a:endParaRPr lang="en-US"/>
        </a:p>
      </dgm:t>
    </dgm:pt>
    <dgm:pt modelId="{D9177669-2457-4F43-978A-3A1F92AA7672}">
      <dgm:prSet custT="1"/>
      <dgm:spPr/>
      <dgm:t>
        <a:bodyPr/>
        <a:lstStyle/>
        <a:p>
          <a:r>
            <a:rPr lang="en-AU" sz="2000" baseline="0" dirty="0"/>
            <a:t>Conditional, runs </a:t>
          </a:r>
          <a:r>
            <a:rPr lang="en-AU" sz="2000" b="1" baseline="0" dirty="0"/>
            <a:t>all code blocks </a:t>
          </a:r>
          <a:r>
            <a:rPr lang="en-AU" sz="2000" baseline="0" dirty="0"/>
            <a:t>with a $True condition</a:t>
          </a:r>
          <a:endParaRPr lang="en-US" sz="2000" dirty="0"/>
        </a:p>
      </dgm:t>
    </dgm:pt>
    <dgm:pt modelId="{C11E3D37-7E2D-4958-B2AA-9FE545D35348}" type="parTrans" cxnId="{347634B7-AEAE-449C-B025-A6C0359D134C}">
      <dgm:prSet/>
      <dgm:spPr/>
      <dgm:t>
        <a:bodyPr/>
        <a:lstStyle/>
        <a:p>
          <a:endParaRPr lang="en-US"/>
        </a:p>
      </dgm:t>
    </dgm:pt>
    <dgm:pt modelId="{8C235D22-5064-4CDF-80CC-28C29EC3DFD0}" type="sibTrans" cxnId="{347634B7-AEAE-449C-B025-A6C0359D134C}">
      <dgm:prSet/>
      <dgm:spPr/>
      <dgm:t>
        <a:bodyPr/>
        <a:lstStyle/>
        <a:p>
          <a:endParaRPr lang="en-US"/>
        </a:p>
      </dgm:t>
    </dgm:pt>
    <dgm:pt modelId="{FCC41B18-839C-43FD-B18D-DDF2B4E9B97D}">
      <dgm:prSet custT="1"/>
      <dgm:spPr/>
      <dgm:t>
        <a:bodyPr/>
        <a:lstStyle/>
        <a:p>
          <a:r>
            <a:rPr lang="en-AU" sz="2000" baseline="0" dirty="0"/>
            <a:t>Supports </a:t>
          </a:r>
          <a:r>
            <a:rPr lang="en-AU" sz="2000" b="1" baseline="0" dirty="0"/>
            <a:t>$_</a:t>
          </a:r>
          <a:r>
            <a:rPr lang="en-AU" sz="2000" baseline="0" dirty="0"/>
            <a:t> and has innate Foreach</a:t>
          </a:r>
          <a:endParaRPr lang="en-US" sz="2000" dirty="0"/>
        </a:p>
      </dgm:t>
    </dgm:pt>
    <dgm:pt modelId="{26E9EE33-C325-4D9B-8964-47AE3C0EF241}" type="parTrans" cxnId="{24DC229E-0262-4277-AA8B-C44667AFE255}">
      <dgm:prSet/>
      <dgm:spPr/>
      <dgm:t>
        <a:bodyPr/>
        <a:lstStyle/>
        <a:p>
          <a:endParaRPr lang="en-US"/>
        </a:p>
      </dgm:t>
    </dgm:pt>
    <dgm:pt modelId="{0348B0C8-E96C-4E1F-A86B-DB9DEFE5B36D}" type="sibTrans" cxnId="{24DC229E-0262-4277-AA8B-C44667AFE255}">
      <dgm:prSet/>
      <dgm:spPr/>
      <dgm:t>
        <a:bodyPr/>
        <a:lstStyle/>
        <a:p>
          <a:endParaRPr lang="en-US"/>
        </a:p>
      </dgm:t>
    </dgm:pt>
    <dgm:pt modelId="{A32A4D2C-899C-4964-AE23-AD7D50D96E0E}" type="pres">
      <dgm:prSet presAssocID="{E2A80E6D-0895-4610-9C96-CD21BA1401BA}" presName="diagram" presStyleCnt="0">
        <dgm:presLayoutVars>
          <dgm:chPref val="1"/>
          <dgm:dir/>
          <dgm:animOne val="branch"/>
          <dgm:animLvl val="lvl"/>
          <dgm:resizeHandles/>
        </dgm:presLayoutVars>
      </dgm:prSet>
      <dgm:spPr/>
    </dgm:pt>
    <dgm:pt modelId="{8D877890-99B1-48E2-B625-DB1F5D9DDCB7}" type="pres">
      <dgm:prSet presAssocID="{D5968142-F929-41D0-994E-DD1F5A76A423}" presName="root" presStyleCnt="0"/>
      <dgm:spPr/>
    </dgm:pt>
    <dgm:pt modelId="{1800DD9F-BD4A-40DA-B2F4-871CD4D0D8C8}" type="pres">
      <dgm:prSet presAssocID="{D5968142-F929-41D0-994E-DD1F5A76A423}" presName="rootComposite" presStyleCnt="0"/>
      <dgm:spPr/>
    </dgm:pt>
    <dgm:pt modelId="{0256A4E4-D8B7-4B2A-8122-71F82C7E8BA7}" type="pres">
      <dgm:prSet presAssocID="{D5968142-F929-41D0-994E-DD1F5A76A423}" presName="rootText" presStyleLbl="node1" presStyleIdx="0" presStyleCnt="1" custScaleX="56134" custScaleY="12749"/>
      <dgm:spPr/>
    </dgm:pt>
    <dgm:pt modelId="{99E54144-8D2D-4197-8F25-6234698D4837}" type="pres">
      <dgm:prSet presAssocID="{D5968142-F929-41D0-994E-DD1F5A76A423}" presName="rootConnector" presStyleLbl="node1" presStyleIdx="0" presStyleCnt="1"/>
      <dgm:spPr/>
    </dgm:pt>
    <dgm:pt modelId="{F534B251-9F74-4488-A0D3-450727964923}" type="pres">
      <dgm:prSet presAssocID="{D5968142-F929-41D0-994E-DD1F5A76A423}" presName="childShape" presStyleCnt="0"/>
      <dgm:spPr/>
    </dgm:pt>
    <dgm:pt modelId="{43CEACEF-BFA8-43B6-96CF-D2C4F57520F3}" type="pres">
      <dgm:prSet presAssocID="{C11E3D37-7E2D-4958-B2AA-9FE545D35348}" presName="Name13" presStyleLbl="parChTrans1D2" presStyleIdx="0" presStyleCnt="2"/>
      <dgm:spPr/>
    </dgm:pt>
    <dgm:pt modelId="{8416F4C8-DB2D-40CF-8E80-540A2BBDF555}" type="pres">
      <dgm:prSet presAssocID="{D9177669-2457-4F43-978A-3A1F92AA7672}" presName="childText" presStyleLbl="bgAcc1" presStyleIdx="0" presStyleCnt="2" custScaleX="139818" custScaleY="24371" custLinFactNeighborX="-1662" custLinFactNeighborY="-19645">
        <dgm:presLayoutVars>
          <dgm:bulletEnabled val="1"/>
        </dgm:presLayoutVars>
      </dgm:prSet>
      <dgm:spPr/>
    </dgm:pt>
    <dgm:pt modelId="{E4A68BB4-70A1-44D6-8888-D0B4A22BC90A}" type="pres">
      <dgm:prSet presAssocID="{26E9EE33-C325-4D9B-8964-47AE3C0EF241}" presName="Name13" presStyleLbl="parChTrans1D2" presStyleIdx="1" presStyleCnt="2"/>
      <dgm:spPr/>
    </dgm:pt>
    <dgm:pt modelId="{528E8AA5-E96B-4249-98A9-792DD2B8D365}" type="pres">
      <dgm:prSet presAssocID="{FCC41B18-839C-43FD-B18D-DDF2B4E9B97D}" presName="childText" presStyleLbl="bgAcc1" presStyleIdx="1" presStyleCnt="2" custScaleX="140835" custScaleY="19808" custLinFactNeighborX="-1992" custLinFactNeighborY="-41565">
        <dgm:presLayoutVars>
          <dgm:bulletEnabled val="1"/>
        </dgm:presLayoutVars>
      </dgm:prSet>
      <dgm:spPr/>
    </dgm:pt>
  </dgm:ptLst>
  <dgm:cxnLst>
    <dgm:cxn modelId="{28C68041-E449-47F3-95D8-EF4BBA3F4E5D}" type="presOf" srcId="{E2A80E6D-0895-4610-9C96-CD21BA1401BA}" destId="{A32A4D2C-899C-4964-AE23-AD7D50D96E0E}" srcOrd="0" destOrd="0" presId="urn:microsoft.com/office/officeart/2005/8/layout/hierarchy3"/>
    <dgm:cxn modelId="{F7A17542-FDDB-4916-8975-3836D68DAFBD}" type="presOf" srcId="{D9177669-2457-4F43-978A-3A1F92AA7672}" destId="{8416F4C8-DB2D-40CF-8E80-540A2BBDF555}" srcOrd="0" destOrd="0" presId="urn:microsoft.com/office/officeart/2005/8/layout/hierarchy3"/>
    <dgm:cxn modelId="{B53FCF4B-6BF0-4EA4-B431-DB34DE0E29FF}" type="presOf" srcId="{26E9EE33-C325-4D9B-8964-47AE3C0EF241}" destId="{E4A68BB4-70A1-44D6-8888-D0B4A22BC90A}" srcOrd="0" destOrd="0" presId="urn:microsoft.com/office/officeart/2005/8/layout/hierarchy3"/>
    <dgm:cxn modelId="{07AF9B84-F8FA-411A-9804-8B710DAC928E}" type="presOf" srcId="{C11E3D37-7E2D-4958-B2AA-9FE545D35348}" destId="{43CEACEF-BFA8-43B6-96CF-D2C4F57520F3}" srcOrd="0" destOrd="0" presId="urn:microsoft.com/office/officeart/2005/8/layout/hierarchy3"/>
    <dgm:cxn modelId="{9F9EF78A-7533-4F31-A435-1A154925967D}" type="presOf" srcId="{D5968142-F929-41D0-994E-DD1F5A76A423}" destId="{0256A4E4-D8B7-4B2A-8122-71F82C7E8BA7}" srcOrd="0" destOrd="0" presId="urn:microsoft.com/office/officeart/2005/8/layout/hierarchy3"/>
    <dgm:cxn modelId="{24DC229E-0262-4277-AA8B-C44667AFE255}" srcId="{D5968142-F929-41D0-994E-DD1F5A76A423}" destId="{FCC41B18-839C-43FD-B18D-DDF2B4E9B97D}" srcOrd="1" destOrd="0" parTransId="{26E9EE33-C325-4D9B-8964-47AE3C0EF241}" sibTransId="{0348B0C8-E96C-4E1F-A86B-DB9DEFE5B36D}"/>
    <dgm:cxn modelId="{347634B7-AEAE-449C-B025-A6C0359D134C}" srcId="{D5968142-F929-41D0-994E-DD1F5A76A423}" destId="{D9177669-2457-4F43-978A-3A1F92AA7672}" srcOrd="0" destOrd="0" parTransId="{C11E3D37-7E2D-4958-B2AA-9FE545D35348}" sibTransId="{8C235D22-5064-4CDF-80CC-28C29EC3DFD0}"/>
    <dgm:cxn modelId="{FDD3DFBB-8599-436D-AB54-F0E69D0022E4}" type="presOf" srcId="{D5968142-F929-41D0-994E-DD1F5A76A423}" destId="{99E54144-8D2D-4197-8F25-6234698D4837}" srcOrd="1" destOrd="0" presId="urn:microsoft.com/office/officeart/2005/8/layout/hierarchy3"/>
    <dgm:cxn modelId="{B6F26DEC-9C00-47D4-81C4-5359E6A1888E}" type="presOf" srcId="{FCC41B18-839C-43FD-B18D-DDF2B4E9B97D}" destId="{528E8AA5-E96B-4249-98A9-792DD2B8D365}" srcOrd="0" destOrd="0" presId="urn:microsoft.com/office/officeart/2005/8/layout/hierarchy3"/>
    <dgm:cxn modelId="{4B6884F0-A1D8-46E9-A81B-E311AE1BF570}" srcId="{E2A80E6D-0895-4610-9C96-CD21BA1401BA}" destId="{D5968142-F929-41D0-994E-DD1F5A76A423}" srcOrd="0" destOrd="0" parTransId="{21328996-CCE2-4F27-83CD-F4F1C35A70D5}" sibTransId="{3368DF91-8FF1-4C61-9F2A-18D0823817C2}"/>
    <dgm:cxn modelId="{8B81CCA9-75CD-4D54-AC35-630966421238}" type="presParOf" srcId="{A32A4D2C-899C-4964-AE23-AD7D50D96E0E}" destId="{8D877890-99B1-48E2-B625-DB1F5D9DDCB7}" srcOrd="0" destOrd="0" presId="urn:microsoft.com/office/officeart/2005/8/layout/hierarchy3"/>
    <dgm:cxn modelId="{88A718AD-319F-46D8-AD44-7A5A25625851}" type="presParOf" srcId="{8D877890-99B1-48E2-B625-DB1F5D9DDCB7}" destId="{1800DD9F-BD4A-40DA-B2F4-871CD4D0D8C8}" srcOrd="0" destOrd="0" presId="urn:microsoft.com/office/officeart/2005/8/layout/hierarchy3"/>
    <dgm:cxn modelId="{BA5A3660-82B6-4EDD-8476-F6FDEB21453C}" type="presParOf" srcId="{1800DD9F-BD4A-40DA-B2F4-871CD4D0D8C8}" destId="{0256A4E4-D8B7-4B2A-8122-71F82C7E8BA7}" srcOrd="0" destOrd="0" presId="urn:microsoft.com/office/officeart/2005/8/layout/hierarchy3"/>
    <dgm:cxn modelId="{FA9A1D62-25EE-489E-A177-D69E0470FCE7}" type="presParOf" srcId="{1800DD9F-BD4A-40DA-B2F4-871CD4D0D8C8}" destId="{99E54144-8D2D-4197-8F25-6234698D4837}" srcOrd="1" destOrd="0" presId="urn:microsoft.com/office/officeart/2005/8/layout/hierarchy3"/>
    <dgm:cxn modelId="{E719CC27-04F3-4A2D-B82B-0F43D47177C4}" type="presParOf" srcId="{8D877890-99B1-48E2-B625-DB1F5D9DDCB7}" destId="{F534B251-9F74-4488-A0D3-450727964923}" srcOrd="1" destOrd="0" presId="urn:microsoft.com/office/officeart/2005/8/layout/hierarchy3"/>
    <dgm:cxn modelId="{F4170A17-0BFF-4A5C-814F-D7036CF75264}" type="presParOf" srcId="{F534B251-9F74-4488-A0D3-450727964923}" destId="{43CEACEF-BFA8-43B6-96CF-D2C4F57520F3}" srcOrd="0" destOrd="0" presId="urn:microsoft.com/office/officeart/2005/8/layout/hierarchy3"/>
    <dgm:cxn modelId="{6164AB6D-35BA-40F3-8873-5ED3B6A49DF8}" type="presParOf" srcId="{F534B251-9F74-4488-A0D3-450727964923}" destId="{8416F4C8-DB2D-40CF-8E80-540A2BBDF555}" srcOrd="1" destOrd="0" presId="urn:microsoft.com/office/officeart/2005/8/layout/hierarchy3"/>
    <dgm:cxn modelId="{2A14726B-09B8-44F5-8845-FFA60232FEAE}" type="presParOf" srcId="{F534B251-9F74-4488-A0D3-450727964923}" destId="{E4A68BB4-70A1-44D6-8888-D0B4A22BC90A}" srcOrd="2" destOrd="0" presId="urn:microsoft.com/office/officeart/2005/8/layout/hierarchy3"/>
    <dgm:cxn modelId="{186955A6-1CC4-4CAF-BC8F-9771C0A138F7}" type="presParOf" srcId="{F534B251-9F74-4488-A0D3-450727964923}" destId="{528E8AA5-E96B-4249-98A9-792DD2B8D365}" srcOrd="3" destOrd="0" presId="urn:microsoft.com/office/officeart/2005/8/layout/hierarchy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328E638E-31B2-4031-B4B4-B1C2DD2E35B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D82A358C-EF5A-4AC4-A3AE-094EB73C4470}">
      <dgm:prSet custT="1"/>
      <dgm:spPr/>
      <dgm:t>
        <a:bodyPr/>
        <a:lstStyle/>
        <a:p>
          <a:r>
            <a:rPr lang="en-US" sz="2400" b="1" baseline="0" dirty="0"/>
            <a:t>Break</a:t>
          </a:r>
          <a:endParaRPr lang="en-US" sz="2400" dirty="0"/>
        </a:p>
      </dgm:t>
    </dgm:pt>
    <dgm:pt modelId="{A500D761-0558-43EF-A1A4-3F90642F6CB5}" type="parTrans" cxnId="{D8A475AB-1AA2-45BF-9043-F9387FE57F0F}">
      <dgm:prSet/>
      <dgm:spPr/>
      <dgm:t>
        <a:bodyPr/>
        <a:lstStyle/>
        <a:p>
          <a:endParaRPr lang="en-US" sz="2400"/>
        </a:p>
      </dgm:t>
    </dgm:pt>
    <dgm:pt modelId="{C0D63F20-9E5E-48C8-9AEF-991D72987ECC}" type="sibTrans" cxnId="{D8A475AB-1AA2-45BF-9043-F9387FE57F0F}">
      <dgm:prSet/>
      <dgm:spPr/>
      <dgm:t>
        <a:bodyPr/>
        <a:lstStyle/>
        <a:p>
          <a:endParaRPr lang="en-US" sz="2400"/>
        </a:p>
      </dgm:t>
    </dgm:pt>
    <dgm:pt modelId="{F99A1E07-AA26-4A09-B2B0-4138BC38D546}">
      <dgm:prSet custT="1"/>
      <dgm:spPr/>
      <dgm:t>
        <a:bodyPr/>
        <a:lstStyle/>
        <a:p>
          <a:r>
            <a:rPr lang="en-US" sz="2400" baseline="0" dirty="0"/>
            <a:t>Immediately exit </a:t>
          </a:r>
          <a:r>
            <a:rPr lang="en-US" sz="2400" b="1" baseline="0" dirty="0"/>
            <a:t>loop or switch</a:t>
          </a:r>
          <a:endParaRPr lang="en-US" sz="2400" dirty="0"/>
        </a:p>
      </dgm:t>
    </dgm:pt>
    <dgm:pt modelId="{5F334F36-2D8E-4BB4-B52B-E6E49A59B13E}" type="parTrans" cxnId="{0B3F7F07-8A5E-4965-9557-AB4B5A2CBE85}">
      <dgm:prSet/>
      <dgm:spPr/>
      <dgm:t>
        <a:bodyPr/>
        <a:lstStyle/>
        <a:p>
          <a:endParaRPr lang="en-US" sz="2400"/>
        </a:p>
      </dgm:t>
    </dgm:pt>
    <dgm:pt modelId="{E1E33AB4-C087-43FC-9F1E-2C728D8CB5B1}" type="sibTrans" cxnId="{0B3F7F07-8A5E-4965-9557-AB4B5A2CBE85}">
      <dgm:prSet/>
      <dgm:spPr/>
      <dgm:t>
        <a:bodyPr/>
        <a:lstStyle/>
        <a:p>
          <a:endParaRPr lang="en-US" sz="2400"/>
        </a:p>
      </dgm:t>
    </dgm:pt>
    <dgm:pt modelId="{CC14F108-999F-4C31-804A-0E52BDFEAD26}">
      <dgm:prSet custT="1"/>
      <dgm:spPr/>
      <dgm:t>
        <a:bodyPr/>
        <a:lstStyle/>
        <a:p>
          <a:r>
            <a:rPr lang="en-US" sz="2400" b="1" baseline="0" dirty="0"/>
            <a:t>Continue</a:t>
          </a:r>
          <a:endParaRPr lang="en-US" sz="2400" dirty="0"/>
        </a:p>
      </dgm:t>
    </dgm:pt>
    <dgm:pt modelId="{B6BC0674-932A-45D5-B8B3-644E3D95306C}" type="parTrans" cxnId="{DF319ED3-5154-4226-BADA-D8005BC55101}">
      <dgm:prSet/>
      <dgm:spPr/>
      <dgm:t>
        <a:bodyPr/>
        <a:lstStyle/>
        <a:p>
          <a:endParaRPr lang="en-US" sz="2400"/>
        </a:p>
      </dgm:t>
    </dgm:pt>
    <dgm:pt modelId="{538FA381-A0A3-4A38-B50D-3CBCBE7D4949}" type="sibTrans" cxnId="{DF319ED3-5154-4226-BADA-D8005BC55101}">
      <dgm:prSet/>
      <dgm:spPr/>
      <dgm:t>
        <a:bodyPr/>
        <a:lstStyle/>
        <a:p>
          <a:endParaRPr lang="en-US" sz="2400"/>
        </a:p>
      </dgm:t>
    </dgm:pt>
    <dgm:pt modelId="{301C244E-24A2-4637-9B95-53E3BC08A2BF}">
      <dgm:prSet custT="1"/>
      <dgm:spPr/>
      <dgm:t>
        <a:bodyPr/>
        <a:lstStyle/>
        <a:p>
          <a:r>
            <a:rPr lang="en-US" sz="2400" baseline="0" dirty="0"/>
            <a:t>Immediately go to the top of a </a:t>
          </a:r>
          <a:r>
            <a:rPr lang="en-US" sz="2400" b="1" baseline="0" dirty="0"/>
            <a:t>loop or switch</a:t>
          </a:r>
          <a:endParaRPr lang="en-US" sz="2400" dirty="0"/>
        </a:p>
      </dgm:t>
    </dgm:pt>
    <dgm:pt modelId="{2001797B-FAC2-4D26-84D7-EB5B4A45E8A2}" type="parTrans" cxnId="{B9EF15B3-DFF4-4220-96E9-4AFF9013C39C}">
      <dgm:prSet/>
      <dgm:spPr/>
      <dgm:t>
        <a:bodyPr/>
        <a:lstStyle/>
        <a:p>
          <a:endParaRPr lang="en-US" sz="2400"/>
        </a:p>
      </dgm:t>
    </dgm:pt>
    <dgm:pt modelId="{DD84F66A-EAD5-44C1-8DD3-CA48998A0C3F}" type="sibTrans" cxnId="{B9EF15B3-DFF4-4220-96E9-4AFF9013C39C}">
      <dgm:prSet/>
      <dgm:spPr/>
      <dgm:t>
        <a:bodyPr/>
        <a:lstStyle/>
        <a:p>
          <a:endParaRPr lang="en-US" sz="2400"/>
        </a:p>
      </dgm:t>
    </dgm:pt>
    <dgm:pt modelId="{15C7FDF3-3856-40AA-8120-2A611057552E}">
      <dgm:prSet custT="1"/>
      <dgm:spPr/>
      <dgm:t>
        <a:bodyPr/>
        <a:lstStyle/>
        <a:p>
          <a:r>
            <a:rPr lang="en-US" sz="2400" b="1" baseline="0" dirty="0"/>
            <a:t>Return</a:t>
          </a:r>
          <a:endParaRPr lang="en-US" sz="2400" dirty="0"/>
        </a:p>
      </dgm:t>
    </dgm:pt>
    <dgm:pt modelId="{787C0D12-88B5-4E67-BF10-0F4AE73BB083}" type="parTrans" cxnId="{00D3B788-0950-4679-844B-96F546CB0432}">
      <dgm:prSet/>
      <dgm:spPr/>
      <dgm:t>
        <a:bodyPr/>
        <a:lstStyle/>
        <a:p>
          <a:endParaRPr lang="en-US" sz="2400"/>
        </a:p>
      </dgm:t>
    </dgm:pt>
    <dgm:pt modelId="{64EDF666-F30D-491D-8105-32CB435AF46A}" type="sibTrans" cxnId="{00D3B788-0950-4679-844B-96F546CB0432}">
      <dgm:prSet/>
      <dgm:spPr/>
      <dgm:t>
        <a:bodyPr/>
        <a:lstStyle/>
        <a:p>
          <a:endParaRPr lang="en-US" sz="2400"/>
        </a:p>
      </dgm:t>
    </dgm:pt>
    <dgm:pt modelId="{1620D869-3B1E-4DAA-956B-46D42E406FA3}">
      <dgm:prSet custT="1"/>
      <dgm:spPr/>
      <dgm:t>
        <a:bodyPr/>
        <a:lstStyle/>
        <a:p>
          <a:r>
            <a:rPr lang="en-US" sz="2400" baseline="0" dirty="0"/>
            <a:t>Immediately exit nearest </a:t>
          </a:r>
          <a:r>
            <a:rPr lang="en-US" sz="2400" b="1" baseline="0" dirty="0"/>
            <a:t>function</a:t>
          </a:r>
          <a:r>
            <a:rPr lang="en-US" sz="2400" baseline="0" dirty="0"/>
            <a:t>, </a:t>
          </a:r>
          <a:r>
            <a:rPr lang="en-US" sz="2400" b="1" baseline="0" dirty="0"/>
            <a:t>script block</a:t>
          </a:r>
          <a:r>
            <a:rPr lang="en-US" sz="2400" baseline="0" dirty="0"/>
            <a:t>, or </a:t>
          </a:r>
          <a:r>
            <a:rPr lang="en-US" sz="2400" b="1" baseline="0" dirty="0"/>
            <a:t>script</a:t>
          </a:r>
          <a:r>
            <a:rPr lang="en-US" sz="2400" baseline="0" dirty="0"/>
            <a:t> scope</a:t>
          </a:r>
          <a:endParaRPr lang="en-US" sz="2400" dirty="0"/>
        </a:p>
      </dgm:t>
    </dgm:pt>
    <dgm:pt modelId="{1950F792-990B-4B80-A993-422521E5AA17}" type="parTrans" cxnId="{D65889B7-4D12-4CF1-991A-D5350780A333}">
      <dgm:prSet/>
      <dgm:spPr/>
      <dgm:t>
        <a:bodyPr/>
        <a:lstStyle/>
        <a:p>
          <a:endParaRPr lang="en-US" sz="2400"/>
        </a:p>
      </dgm:t>
    </dgm:pt>
    <dgm:pt modelId="{AE2B30A8-7A9F-43C4-A073-019538F9038E}" type="sibTrans" cxnId="{D65889B7-4D12-4CF1-991A-D5350780A333}">
      <dgm:prSet/>
      <dgm:spPr/>
      <dgm:t>
        <a:bodyPr/>
        <a:lstStyle/>
        <a:p>
          <a:endParaRPr lang="en-US" sz="2400"/>
        </a:p>
      </dgm:t>
    </dgm:pt>
    <dgm:pt modelId="{7F839499-29B6-47EB-AE1A-AE495CB69FB3}" type="pres">
      <dgm:prSet presAssocID="{328E638E-31B2-4031-B4B4-B1C2DD2E35B0}" presName="linearFlow" presStyleCnt="0">
        <dgm:presLayoutVars>
          <dgm:dir/>
          <dgm:animLvl val="lvl"/>
          <dgm:resizeHandles val="exact"/>
        </dgm:presLayoutVars>
      </dgm:prSet>
      <dgm:spPr/>
    </dgm:pt>
    <dgm:pt modelId="{A3701EEB-C844-474C-AD05-8488B0C0B392}" type="pres">
      <dgm:prSet presAssocID="{D82A358C-EF5A-4AC4-A3AE-094EB73C4470}" presName="composite" presStyleCnt="0"/>
      <dgm:spPr/>
    </dgm:pt>
    <dgm:pt modelId="{6E0728D2-3965-4328-A180-647C109B1953}" type="pres">
      <dgm:prSet presAssocID="{D82A358C-EF5A-4AC4-A3AE-094EB73C4470}" presName="parentText" presStyleLbl="alignNode1" presStyleIdx="0" presStyleCnt="3">
        <dgm:presLayoutVars>
          <dgm:chMax val="1"/>
          <dgm:bulletEnabled val="1"/>
        </dgm:presLayoutVars>
      </dgm:prSet>
      <dgm:spPr/>
    </dgm:pt>
    <dgm:pt modelId="{8F5C2B07-5C9E-499F-8C2B-6CAA4AEB69D5}" type="pres">
      <dgm:prSet presAssocID="{D82A358C-EF5A-4AC4-A3AE-094EB73C4470}" presName="descendantText" presStyleLbl="alignAcc1" presStyleIdx="0" presStyleCnt="3">
        <dgm:presLayoutVars>
          <dgm:bulletEnabled val="1"/>
        </dgm:presLayoutVars>
      </dgm:prSet>
      <dgm:spPr/>
    </dgm:pt>
    <dgm:pt modelId="{24F308DC-085B-4625-BA93-3BCF9E73A86A}" type="pres">
      <dgm:prSet presAssocID="{C0D63F20-9E5E-48C8-9AEF-991D72987ECC}" presName="sp" presStyleCnt="0"/>
      <dgm:spPr/>
    </dgm:pt>
    <dgm:pt modelId="{27A61099-1232-4C80-9EDA-8CEDEC81AF26}" type="pres">
      <dgm:prSet presAssocID="{CC14F108-999F-4C31-804A-0E52BDFEAD26}" presName="composite" presStyleCnt="0"/>
      <dgm:spPr/>
    </dgm:pt>
    <dgm:pt modelId="{264B9474-8E39-412E-9E86-F968B4C18620}" type="pres">
      <dgm:prSet presAssocID="{CC14F108-999F-4C31-804A-0E52BDFEAD26}" presName="parentText" presStyleLbl="alignNode1" presStyleIdx="1" presStyleCnt="3">
        <dgm:presLayoutVars>
          <dgm:chMax val="1"/>
          <dgm:bulletEnabled val="1"/>
        </dgm:presLayoutVars>
      </dgm:prSet>
      <dgm:spPr/>
    </dgm:pt>
    <dgm:pt modelId="{F6833D38-4AD4-4EFA-9FFF-0DCD2A358329}" type="pres">
      <dgm:prSet presAssocID="{CC14F108-999F-4C31-804A-0E52BDFEAD26}" presName="descendantText" presStyleLbl="alignAcc1" presStyleIdx="1" presStyleCnt="3">
        <dgm:presLayoutVars>
          <dgm:bulletEnabled val="1"/>
        </dgm:presLayoutVars>
      </dgm:prSet>
      <dgm:spPr/>
    </dgm:pt>
    <dgm:pt modelId="{EBD58AB8-9263-40A2-83F4-7628F8CF8B6B}" type="pres">
      <dgm:prSet presAssocID="{538FA381-A0A3-4A38-B50D-3CBCBE7D4949}" presName="sp" presStyleCnt="0"/>
      <dgm:spPr/>
    </dgm:pt>
    <dgm:pt modelId="{E809246A-63CD-48F7-B046-85B271DA3644}" type="pres">
      <dgm:prSet presAssocID="{15C7FDF3-3856-40AA-8120-2A611057552E}" presName="composite" presStyleCnt="0"/>
      <dgm:spPr/>
    </dgm:pt>
    <dgm:pt modelId="{039526B2-36F2-4504-A204-22DE8DADE731}" type="pres">
      <dgm:prSet presAssocID="{15C7FDF3-3856-40AA-8120-2A611057552E}" presName="parentText" presStyleLbl="alignNode1" presStyleIdx="2" presStyleCnt="3">
        <dgm:presLayoutVars>
          <dgm:chMax val="1"/>
          <dgm:bulletEnabled val="1"/>
        </dgm:presLayoutVars>
      </dgm:prSet>
      <dgm:spPr/>
    </dgm:pt>
    <dgm:pt modelId="{B33E035E-932B-4D9E-B57A-F558115BF1F3}" type="pres">
      <dgm:prSet presAssocID="{15C7FDF3-3856-40AA-8120-2A611057552E}" presName="descendantText" presStyleLbl="alignAcc1" presStyleIdx="2" presStyleCnt="3">
        <dgm:presLayoutVars>
          <dgm:bulletEnabled val="1"/>
        </dgm:presLayoutVars>
      </dgm:prSet>
      <dgm:spPr/>
    </dgm:pt>
  </dgm:ptLst>
  <dgm:cxnLst>
    <dgm:cxn modelId="{0B3F7F07-8A5E-4965-9557-AB4B5A2CBE85}" srcId="{D82A358C-EF5A-4AC4-A3AE-094EB73C4470}" destId="{F99A1E07-AA26-4A09-B2B0-4138BC38D546}" srcOrd="0" destOrd="0" parTransId="{5F334F36-2D8E-4BB4-B52B-E6E49A59B13E}" sibTransId="{E1E33AB4-C087-43FC-9F1E-2C728D8CB5B1}"/>
    <dgm:cxn modelId="{30770339-A76B-452C-BA75-B74D648C64BA}" type="presOf" srcId="{301C244E-24A2-4637-9B95-53E3BC08A2BF}" destId="{F6833D38-4AD4-4EFA-9FFF-0DCD2A358329}" srcOrd="0" destOrd="0" presId="urn:microsoft.com/office/officeart/2005/8/layout/chevron2"/>
    <dgm:cxn modelId="{BB6DD642-CEA1-426E-8490-D56D8FA8F2E2}" type="presOf" srcId="{328E638E-31B2-4031-B4B4-B1C2DD2E35B0}" destId="{7F839499-29B6-47EB-AE1A-AE495CB69FB3}" srcOrd="0" destOrd="0" presId="urn:microsoft.com/office/officeart/2005/8/layout/chevron2"/>
    <dgm:cxn modelId="{F8BAA854-B809-4E9B-98E1-60FE0E7507A2}" type="presOf" srcId="{1620D869-3B1E-4DAA-956B-46D42E406FA3}" destId="{B33E035E-932B-4D9E-B57A-F558115BF1F3}" srcOrd="0" destOrd="0" presId="urn:microsoft.com/office/officeart/2005/8/layout/chevron2"/>
    <dgm:cxn modelId="{9622E058-F5D4-402A-A88B-4C0C9E3F6011}" type="presOf" srcId="{F99A1E07-AA26-4A09-B2B0-4138BC38D546}" destId="{8F5C2B07-5C9E-499F-8C2B-6CAA4AEB69D5}" srcOrd="0" destOrd="0" presId="urn:microsoft.com/office/officeart/2005/8/layout/chevron2"/>
    <dgm:cxn modelId="{00D3B788-0950-4679-844B-96F546CB0432}" srcId="{328E638E-31B2-4031-B4B4-B1C2DD2E35B0}" destId="{15C7FDF3-3856-40AA-8120-2A611057552E}" srcOrd="2" destOrd="0" parTransId="{787C0D12-88B5-4E67-BF10-0F4AE73BB083}" sibTransId="{64EDF666-F30D-491D-8105-32CB435AF46A}"/>
    <dgm:cxn modelId="{A30C3599-2433-419B-B128-7A53193E91A4}" type="presOf" srcId="{15C7FDF3-3856-40AA-8120-2A611057552E}" destId="{039526B2-36F2-4504-A204-22DE8DADE731}" srcOrd="0" destOrd="0" presId="urn:microsoft.com/office/officeart/2005/8/layout/chevron2"/>
    <dgm:cxn modelId="{9CE79AA4-DAE3-4C7D-A7EF-02F7E47E5EB1}" type="presOf" srcId="{D82A358C-EF5A-4AC4-A3AE-094EB73C4470}" destId="{6E0728D2-3965-4328-A180-647C109B1953}" srcOrd="0" destOrd="0" presId="urn:microsoft.com/office/officeart/2005/8/layout/chevron2"/>
    <dgm:cxn modelId="{D8A475AB-1AA2-45BF-9043-F9387FE57F0F}" srcId="{328E638E-31B2-4031-B4B4-B1C2DD2E35B0}" destId="{D82A358C-EF5A-4AC4-A3AE-094EB73C4470}" srcOrd="0" destOrd="0" parTransId="{A500D761-0558-43EF-A1A4-3F90642F6CB5}" sibTransId="{C0D63F20-9E5E-48C8-9AEF-991D72987ECC}"/>
    <dgm:cxn modelId="{B9EF15B3-DFF4-4220-96E9-4AFF9013C39C}" srcId="{CC14F108-999F-4C31-804A-0E52BDFEAD26}" destId="{301C244E-24A2-4637-9B95-53E3BC08A2BF}" srcOrd="0" destOrd="0" parTransId="{2001797B-FAC2-4D26-84D7-EB5B4A45E8A2}" sibTransId="{DD84F66A-EAD5-44C1-8DD3-CA48998A0C3F}"/>
    <dgm:cxn modelId="{D65889B7-4D12-4CF1-991A-D5350780A333}" srcId="{15C7FDF3-3856-40AA-8120-2A611057552E}" destId="{1620D869-3B1E-4DAA-956B-46D42E406FA3}" srcOrd="0" destOrd="0" parTransId="{1950F792-990B-4B80-A993-422521E5AA17}" sibTransId="{AE2B30A8-7A9F-43C4-A073-019538F9038E}"/>
    <dgm:cxn modelId="{4F7061C3-F830-410D-9BCB-D4EB464A6D70}" type="presOf" srcId="{CC14F108-999F-4C31-804A-0E52BDFEAD26}" destId="{264B9474-8E39-412E-9E86-F968B4C18620}" srcOrd="0" destOrd="0" presId="urn:microsoft.com/office/officeart/2005/8/layout/chevron2"/>
    <dgm:cxn modelId="{DF319ED3-5154-4226-BADA-D8005BC55101}" srcId="{328E638E-31B2-4031-B4B4-B1C2DD2E35B0}" destId="{CC14F108-999F-4C31-804A-0E52BDFEAD26}" srcOrd="1" destOrd="0" parTransId="{B6BC0674-932A-45D5-B8B3-644E3D95306C}" sibTransId="{538FA381-A0A3-4A38-B50D-3CBCBE7D4949}"/>
    <dgm:cxn modelId="{C48BB70B-0B0A-49EE-957B-46730D4454A4}" type="presParOf" srcId="{7F839499-29B6-47EB-AE1A-AE495CB69FB3}" destId="{A3701EEB-C844-474C-AD05-8488B0C0B392}" srcOrd="0" destOrd="0" presId="urn:microsoft.com/office/officeart/2005/8/layout/chevron2"/>
    <dgm:cxn modelId="{67117636-D316-45C9-8AA1-1749D0A6B09E}" type="presParOf" srcId="{A3701EEB-C844-474C-AD05-8488B0C0B392}" destId="{6E0728D2-3965-4328-A180-647C109B1953}" srcOrd="0" destOrd="0" presId="urn:microsoft.com/office/officeart/2005/8/layout/chevron2"/>
    <dgm:cxn modelId="{E7928A95-4B13-42B7-B4BF-F88593B0D58C}" type="presParOf" srcId="{A3701EEB-C844-474C-AD05-8488B0C0B392}" destId="{8F5C2B07-5C9E-499F-8C2B-6CAA4AEB69D5}" srcOrd="1" destOrd="0" presId="urn:microsoft.com/office/officeart/2005/8/layout/chevron2"/>
    <dgm:cxn modelId="{7759B501-115D-4F04-94D7-2FF70A1E85C1}" type="presParOf" srcId="{7F839499-29B6-47EB-AE1A-AE495CB69FB3}" destId="{24F308DC-085B-4625-BA93-3BCF9E73A86A}" srcOrd="1" destOrd="0" presId="urn:microsoft.com/office/officeart/2005/8/layout/chevron2"/>
    <dgm:cxn modelId="{2BF3DF99-C359-4608-A628-7F6624B06771}" type="presParOf" srcId="{7F839499-29B6-47EB-AE1A-AE495CB69FB3}" destId="{27A61099-1232-4C80-9EDA-8CEDEC81AF26}" srcOrd="2" destOrd="0" presId="urn:microsoft.com/office/officeart/2005/8/layout/chevron2"/>
    <dgm:cxn modelId="{83CCA0EF-8BA7-4008-873D-F9672881C164}" type="presParOf" srcId="{27A61099-1232-4C80-9EDA-8CEDEC81AF26}" destId="{264B9474-8E39-412E-9E86-F968B4C18620}" srcOrd="0" destOrd="0" presId="urn:microsoft.com/office/officeart/2005/8/layout/chevron2"/>
    <dgm:cxn modelId="{491DD67A-0CA4-4BEA-9E6F-CA5F9F4E5DE5}" type="presParOf" srcId="{27A61099-1232-4C80-9EDA-8CEDEC81AF26}" destId="{F6833D38-4AD4-4EFA-9FFF-0DCD2A358329}" srcOrd="1" destOrd="0" presId="urn:microsoft.com/office/officeart/2005/8/layout/chevron2"/>
    <dgm:cxn modelId="{2B302206-D8E5-48A0-A9B2-EB31B0E1618D}" type="presParOf" srcId="{7F839499-29B6-47EB-AE1A-AE495CB69FB3}" destId="{EBD58AB8-9263-40A2-83F4-7628F8CF8B6B}" srcOrd="3" destOrd="0" presId="urn:microsoft.com/office/officeart/2005/8/layout/chevron2"/>
    <dgm:cxn modelId="{516E7B60-C67A-4E4F-9D40-746F0C4FF4BB}" type="presParOf" srcId="{7F839499-29B6-47EB-AE1A-AE495CB69FB3}" destId="{E809246A-63CD-48F7-B046-85B271DA3644}" srcOrd="4" destOrd="0" presId="urn:microsoft.com/office/officeart/2005/8/layout/chevron2"/>
    <dgm:cxn modelId="{93D422D4-B32E-4DCF-878D-E168F04FD9C3}" type="presParOf" srcId="{E809246A-63CD-48F7-B046-85B271DA3644}" destId="{039526B2-36F2-4504-A204-22DE8DADE731}" srcOrd="0" destOrd="0" presId="urn:microsoft.com/office/officeart/2005/8/layout/chevron2"/>
    <dgm:cxn modelId="{3102AA0B-77F2-45E4-A7A7-16F38F28AA5E}" type="presParOf" srcId="{E809246A-63CD-48F7-B046-85B271DA3644}" destId="{B33E035E-932B-4D9E-B57A-F558115BF1F3}" srcOrd="1" destOrd="0" presId="urn:microsoft.com/office/officeart/2005/8/layout/chevro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8C0646E-00EB-4BA3-B2E5-87DF8E64E11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7F235CDF-0008-4B3C-9FEC-A4AE6C582B63}">
      <dgm:prSet/>
      <dgm:spPr/>
      <dgm:t>
        <a:bodyPr/>
        <a:lstStyle/>
        <a:p>
          <a:r>
            <a:rPr lang="en-US" baseline="0"/>
            <a:t>Collection (holds other objects) providing </a:t>
          </a:r>
          <a:r>
            <a:rPr lang="en-US" b="1" baseline="0"/>
            <a:t>constant</a:t>
          </a:r>
          <a:r>
            <a:rPr lang="en-US" baseline="0"/>
            <a:t> </a:t>
          </a:r>
          <a:r>
            <a:rPr lang="en-US" b="1" baseline="0"/>
            <a:t>search</a:t>
          </a:r>
          <a:r>
            <a:rPr lang="en-US" baseline="0"/>
            <a:t> </a:t>
          </a:r>
          <a:r>
            <a:rPr lang="en-US" b="1" baseline="0"/>
            <a:t>time</a:t>
          </a:r>
          <a:endParaRPr lang="en-US"/>
        </a:p>
      </dgm:t>
    </dgm:pt>
    <dgm:pt modelId="{789118B2-57D8-409B-B2FE-9516F06FDD7C}" type="parTrans" cxnId="{5F0BD868-CD52-4059-8C70-58728AAD6AAD}">
      <dgm:prSet/>
      <dgm:spPr/>
      <dgm:t>
        <a:bodyPr/>
        <a:lstStyle/>
        <a:p>
          <a:endParaRPr lang="en-US"/>
        </a:p>
      </dgm:t>
    </dgm:pt>
    <dgm:pt modelId="{07736A24-FF67-4D97-B689-3E197AE60340}" type="sibTrans" cxnId="{5F0BD868-CD52-4059-8C70-58728AAD6AAD}">
      <dgm:prSet/>
      <dgm:spPr/>
      <dgm:t>
        <a:bodyPr/>
        <a:lstStyle/>
        <a:p>
          <a:endParaRPr lang="en-US"/>
        </a:p>
      </dgm:t>
    </dgm:pt>
    <dgm:pt modelId="{5F4B35AC-CE30-4178-812C-785423D011F3}">
      <dgm:prSet/>
      <dgm:spPr/>
      <dgm:t>
        <a:bodyPr/>
        <a:lstStyle/>
        <a:p>
          <a:r>
            <a:rPr lang="en-US" baseline="0" dirty="0"/>
            <a:t>Lookup table, uses a selected </a:t>
          </a:r>
          <a:r>
            <a:rPr lang="en-US" b="1" baseline="0" dirty="0"/>
            <a:t>Key</a:t>
          </a:r>
          <a:r>
            <a:rPr lang="en-US" baseline="0" dirty="0"/>
            <a:t> to find a specific </a:t>
          </a:r>
          <a:r>
            <a:rPr lang="en-US" b="1" baseline="0" dirty="0"/>
            <a:t>Value</a:t>
          </a:r>
          <a:endParaRPr lang="en-US" dirty="0"/>
        </a:p>
      </dgm:t>
    </dgm:pt>
    <dgm:pt modelId="{7358867B-EB3A-4503-B8A7-E46CD25B765F}" type="parTrans" cxnId="{01B44DA0-F939-4821-AF26-BE913E5ECB2D}">
      <dgm:prSet/>
      <dgm:spPr/>
      <dgm:t>
        <a:bodyPr/>
        <a:lstStyle/>
        <a:p>
          <a:endParaRPr lang="en-US"/>
        </a:p>
      </dgm:t>
    </dgm:pt>
    <dgm:pt modelId="{E467A7AE-C749-4CBF-A4A6-28A9866BCB16}" type="sibTrans" cxnId="{01B44DA0-F939-4821-AF26-BE913E5ECB2D}">
      <dgm:prSet/>
      <dgm:spPr/>
      <dgm:t>
        <a:bodyPr/>
        <a:lstStyle/>
        <a:p>
          <a:endParaRPr lang="en-US"/>
        </a:p>
      </dgm:t>
    </dgm:pt>
    <dgm:pt modelId="{F9FC3DE6-63AE-433F-A7E0-2B51620A33D0}">
      <dgm:prSet/>
      <dgm:spPr/>
      <dgm:t>
        <a:bodyPr/>
        <a:lstStyle/>
        <a:p>
          <a:r>
            <a:rPr lang="en-US" baseline="0"/>
            <a:t>Created with </a:t>
          </a:r>
          <a:r>
            <a:rPr lang="en-US" b="1" baseline="0"/>
            <a:t>@{}</a:t>
          </a:r>
          <a:endParaRPr lang="en-US"/>
        </a:p>
      </dgm:t>
    </dgm:pt>
    <dgm:pt modelId="{5E813C3A-8FAA-4D87-8147-D68041F16D22}" type="parTrans" cxnId="{61AB2CB0-3090-4F22-8EB8-8DA212E95B89}">
      <dgm:prSet/>
      <dgm:spPr/>
      <dgm:t>
        <a:bodyPr/>
        <a:lstStyle/>
        <a:p>
          <a:endParaRPr lang="en-US"/>
        </a:p>
      </dgm:t>
    </dgm:pt>
    <dgm:pt modelId="{17FC52CC-577C-4FCD-8ABA-61F40B352509}" type="sibTrans" cxnId="{61AB2CB0-3090-4F22-8EB8-8DA212E95B89}">
      <dgm:prSet/>
      <dgm:spPr/>
      <dgm:t>
        <a:bodyPr/>
        <a:lstStyle/>
        <a:p>
          <a:endParaRPr lang="en-US"/>
        </a:p>
      </dgm:t>
    </dgm:pt>
    <dgm:pt modelId="{C25A0C09-BF42-433A-B098-F11B09B08F5A}">
      <dgm:prSet/>
      <dgm:spPr/>
      <dgm:t>
        <a:bodyPr/>
        <a:lstStyle/>
        <a:p>
          <a:r>
            <a:rPr lang="en-US" baseline="0"/>
            <a:t>Easy to add to, and grows </a:t>
          </a:r>
          <a:r>
            <a:rPr lang="en-US" b="1" baseline="0"/>
            <a:t>efficiently</a:t>
          </a:r>
          <a:endParaRPr lang="en-US"/>
        </a:p>
      </dgm:t>
    </dgm:pt>
    <dgm:pt modelId="{6217AFAF-F59D-45F0-919B-997ECD959CA1}" type="parTrans" cxnId="{1B8B0001-C283-40CE-B928-163D9A3DC9D1}">
      <dgm:prSet/>
      <dgm:spPr/>
      <dgm:t>
        <a:bodyPr/>
        <a:lstStyle/>
        <a:p>
          <a:endParaRPr lang="en-US"/>
        </a:p>
      </dgm:t>
    </dgm:pt>
    <dgm:pt modelId="{A86ACC9D-C623-45A0-8F71-1177612AD757}" type="sibTrans" cxnId="{1B8B0001-C283-40CE-B928-163D9A3DC9D1}">
      <dgm:prSet/>
      <dgm:spPr/>
      <dgm:t>
        <a:bodyPr/>
        <a:lstStyle/>
        <a:p>
          <a:endParaRPr lang="en-US"/>
        </a:p>
      </dgm:t>
    </dgm:pt>
    <dgm:pt modelId="{61CB55CA-673F-4130-978C-2401F6EAE45A}">
      <dgm:prSet/>
      <dgm:spPr/>
      <dgm:t>
        <a:bodyPr/>
        <a:lstStyle/>
        <a:p>
          <a:r>
            <a:rPr lang="en-US" baseline="0" dirty="0"/>
            <a:t>Useful for </a:t>
          </a:r>
          <a:r>
            <a:rPr lang="en-US" b="1" baseline="0" dirty="0"/>
            <a:t>creating </a:t>
          </a:r>
          <a:r>
            <a:rPr lang="en-US" b="1" baseline="0"/>
            <a:t>custom objects</a:t>
          </a:r>
          <a:r>
            <a:rPr lang="en-US" baseline="0"/>
            <a:t>, </a:t>
          </a:r>
          <a:r>
            <a:rPr lang="en-US" baseline="0" dirty="0"/>
            <a:t>and other tricks</a:t>
          </a:r>
          <a:endParaRPr lang="en-US" dirty="0"/>
        </a:p>
      </dgm:t>
    </dgm:pt>
    <dgm:pt modelId="{23B6EBC2-E139-4DE1-A988-DEFBA2FE07F5}" type="parTrans" cxnId="{4A41395B-B611-4846-A8B8-366E6D235E17}">
      <dgm:prSet/>
      <dgm:spPr/>
      <dgm:t>
        <a:bodyPr/>
        <a:lstStyle/>
        <a:p>
          <a:endParaRPr lang="en-US"/>
        </a:p>
      </dgm:t>
    </dgm:pt>
    <dgm:pt modelId="{1B8A8241-94C7-4533-A4B1-A8201CA05A9C}" type="sibTrans" cxnId="{4A41395B-B611-4846-A8B8-366E6D235E17}">
      <dgm:prSet/>
      <dgm:spPr/>
      <dgm:t>
        <a:bodyPr/>
        <a:lstStyle/>
        <a:p>
          <a:endParaRPr lang="en-US"/>
        </a:p>
      </dgm:t>
    </dgm:pt>
    <dgm:pt modelId="{025E616C-5426-4E19-9A0B-FD63D74B2245}" type="pres">
      <dgm:prSet presAssocID="{E8C0646E-00EB-4BA3-B2E5-87DF8E64E113}" presName="vert0" presStyleCnt="0">
        <dgm:presLayoutVars>
          <dgm:dir/>
          <dgm:animOne val="branch"/>
          <dgm:animLvl val="lvl"/>
        </dgm:presLayoutVars>
      </dgm:prSet>
      <dgm:spPr/>
    </dgm:pt>
    <dgm:pt modelId="{67D3E2FE-2ECA-4A6D-8860-B93312F166CC}" type="pres">
      <dgm:prSet presAssocID="{7F235CDF-0008-4B3C-9FEC-A4AE6C582B63}" presName="thickLine" presStyleLbl="alignNode1" presStyleIdx="0" presStyleCnt="5"/>
      <dgm:spPr/>
    </dgm:pt>
    <dgm:pt modelId="{499C7F5E-ED05-4486-90BF-C8AAB0613D3B}" type="pres">
      <dgm:prSet presAssocID="{7F235CDF-0008-4B3C-9FEC-A4AE6C582B63}" presName="horz1" presStyleCnt="0"/>
      <dgm:spPr/>
    </dgm:pt>
    <dgm:pt modelId="{A7C11694-33A8-4878-AB13-1913B3206BDB}" type="pres">
      <dgm:prSet presAssocID="{7F235CDF-0008-4B3C-9FEC-A4AE6C582B63}" presName="tx1" presStyleLbl="revTx" presStyleIdx="0" presStyleCnt="5"/>
      <dgm:spPr/>
    </dgm:pt>
    <dgm:pt modelId="{17DCED7A-BE8A-4509-9109-5B672331DB9C}" type="pres">
      <dgm:prSet presAssocID="{7F235CDF-0008-4B3C-9FEC-A4AE6C582B63}" presName="vert1" presStyleCnt="0"/>
      <dgm:spPr/>
    </dgm:pt>
    <dgm:pt modelId="{23B1F33F-5D58-48E6-B3F0-A5B1CCF918E6}" type="pres">
      <dgm:prSet presAssocID="{5F4B35AC-CE30-4178-812C-785423D011F3}" presName="thickLine" presStyleLbl="alignNode1" presStyleIdx="1" presStyleCnt="5"/>
      <dgm:spPr/>
    </dgm:pt>
    <dgm:pt modelId="{5203F572-C354-4237-8024-6955D77DCE38}" type="pres">
      <dgm:prSet presAssocID="{5F4B35AC-CE30-4178-812C-785423D011F3}" presName="horz1" presStyleCnt="0"/>
      <dgm:spPr/>
    </dgm:pt>
    <dgm:pt modelId="{0694ACAF-2A8D-491F-8524-3AEBF53A0344}" type="pres">
      <dgm:prSet presAssocID="{5F4B35AC-CE30-4178-812C-785423D011F3}" presName="tx1" presStyleLbl="revTx" presStyleIdx="1" presStyleCnt="5"/>
      <dgm:spPr/>
    </dgm:pt>
    <dgm:pt modelId="{4F4AD025-3ECF-4306-81EF-922ABBD3334C}" type="pres">
      <dgm:prSet presAssocID="{5F4B35AC-CE30-4178-812C-785423D011F3}" presName="vert1" presStyleCnt="0"/>
      <dgm:spPr/>
    </dgm:pt>
    <dgm:pt modelId="{BFEB235E-6ED0-49F3-B9CB-10BDD4E5AAEA}" type="pres">
      <dgm:prSet presAssocID="{F9FC3DE6-63AE-433F-A7E0-2B51620A33D0}" presName="thickLine" presStyleLbl="alignNode1" presStyleIdx="2" presStyleCnt="5"/>
      <dgm:spPr/>
    </dgm:pt>
    <dgm:pt modelId="{958085D1-6778-497B-86DD-F4D41B1B7E39}" type="pres">
      <dgm:prSet presAssocID="{F9FC3DE6-63AE-433F-A7E0-2B51620A33D0}" presName="horz1" presStyleCnt="0"/>
      <dgm:spPr/>
    </dgm:pt>
    <dgm:pt modelId="{362AD4AF-3EBB-4758-9EE4-A7CEB240AA94}" type="pres">
      <dgm:prSet presAssocID="{F9FC3DE6-63AE-433F-A7E0-2B51620A33D0}" presName="tx1" presStyleLbl="revTx" presStyleIdx="2" presStyleCnt="5"/>
      <dgm:spPr/>
    </dgm:pt>
    <dgm:pt modelId="{CEECEBB1-BB0E-4799-955B-A7B3663C5868}" type="pres">
      <dgm:prSet presAssocID="{F9FC3DE6-63AE-433F-A7E0-2B51620A33D0}" presName="vert1" presStyleCnt="0"/>
      <dgm:spPr/>
    </dgm:pt>
    <dgm:pt modelId="{EBD09BA3-CA87-4BB3-9659-1326E72BF782}" type="pres">
      <dgm:prSet presAssocID="{C25A0C09-BF42-433A-B098-F11B09B08F5A}" presName="thickLine" presStyleLbl="alignNode1" presStyleIdx="3" presStyleCnt="5"/>
      <dgm:spPr/>
    </dgm:pt>
    <dgm:pt modelId="{BA5BA248-5586-47D8-A1B9-3E5F3B5D6DB1}" type="pres">
      <dgm:prSet presAssocID="{C25A0C09-BF42-433A-B098-F11B09B08F5A}" presName="horz1" presStyleCnt="0"/>
      <dgm:spPr/>
    </dgm:pt>
    <dgm:pt modelId="{C56C3884-7877-4FC6-A279-2C5F4EE7ADC4}" type="pres">
      <dgm:prSet presAssocID="{C25A0C09-BF42-433A-B098-F11B09B08F5A}" presName="tx1" presStyleLbl="revTx" presStyleIdx="3" presStyleCnt="5"/>
      <dgm:spPr/>
    </dgm:pt>
    <dgm:pt modelId="{BBB0F9C8-74EB-4F46-B523-02728F24F76D}" type="pres">
      <dgm:prSet presAssocID="{C25A0C09-BF42-433A-B098-F11B09B08F5A}" presName="vert1" presStyleCnt="0"/>
      <dgm:spPr/>
    </dgm:pt>
    <dgm:pt modelId="{FC72D1D8-CD4F-477E-ACD1-908BAA1E4D6F}" type="pres">
      <dgm:prSet presAssocID="{61CB55CA-673F-4130-978C-2401F6EAE45A}" presName="thickLine" presStyleLbl="alignNode1" presStyleIdx="4" presStyleCnt="5"/>
      <dgm:spPr/>
    </dgm:pt>
    <dgm:pt modelId="{396C27B2-731B-45DC-9AAB-8FB47598A723}" type="pres">
      <dgm:prSet presAssocID="{61CB55CA-673F-4130-978C-2401F6EAE45A}" presName="horz1" presStyleCnt="0"/>
      <dgm:spPr/>
    </dgm:pt>
    <dgm:pt modelId="{5357E250-70FF-4515-923D-C17F6753BDA3}" type="pres">
      <dgm:prSet presAssocID="{61CB55CA-673F-4130-978C-2401F6EAE45A}" presName="tx1" presStyleLbl="revTx" presStyleIdx="4" presStyleCnt="5"/>
      <dgm:spPr/>
    </dgm:pt>
    <dgm:pt modelId="{2BFFDB32-7A52-440C-AD23-55748507F658}" type="pres">
      <dgm:prSet presAssocID="{61CB55CA-673F-4130-978C-2401F6EAE45A}" presName="vert1" presStyleCnt="0"/>
      <dgm:spPr/>
    </dgm:pt>
  </dgm:ptLst>
  <dgm:cxnLst>
    <dgm:cxn modelId="{1B8B0001-C283-40CE-B928-163D9A3DC9D1}" srcId="{E8C0646E-00EB-4BA3-B2E5-87DF8E64E113}" destId="{C25A0C09-BF42-433A-B098-F11B09B08F5A}" srcOrd="3" destOrd="0" parTransId="{6217AFAF-F59D-45F0-919B-997ECD959CA1}" sibTransId="{A86ACC9D-C623-45A0-8F71-1177612AD757}"/>
    <dgm:cxn modelId="{92D6F832-7A7D-4241-9326-9B92720BAB0C}" type="presOf" srcId="{F9FC3DE6-63AE-433F-A7E0-2B51620A33D0}" destId="{362AD4AF-3EBB-4758-9EE4-A7CEB240AA94}" srcOrd="0" destOrd="0" presId="urn:microsoft.com/office/officeart/2008/layout/LinedList"/>
    <dgm:cxn modelId="{3602283B-2C3F-4E5D-94A6-8836CF0E4CB0}" type="presOf" srcId="{61CB55CA-673F-4130-978C-2401F6EAE45A}" destId="{5357E250-70FF-4515-923D-C17F6753BDA3}" srcOrd="0" destOrd="0" presId="urn:microsoft.com/office/officeart/2008/layout/LinedList"/>
    <dgm:cxn modelId="{4A41395B-B611-4846-A8B8-366E6D235E17}" srcId="{E8C0646E-00EB-4BA3-B2E5-87DF8E64E113}" destId="{61CB55CA-673F-4130-978C-2401F6EAE45A}" srcOrd="4" destOrd="0" parTransId="{23B6EBC2-E139-4DE1-A988-DEFBA2FE07F5}" sibTransId="{1B8A8241-94C7-4533-A4B1-A8201CA05A9C}"/>
    <dgm:cxn modelId="{B4316045-56D3-4B84-832A-A062448D3B6A}" type="presOf" srcId="{E8C0646E-00EB-4BA3-B2E5-87DF8E64E113}" destId="{025E616C-5426-4E19-9A0B-FD63D74B2245}" srcOrd="0" destOrd="0" presId="urn:microsoft.com/office/officeart/2008/layout/LinedList"/>
    <dgm:cxn modelId="{5F0BD868-CD52-4059-8C70-58728AAD6AAD}" srcId="{E8C0646E-00EB-4BA3-B2E5-87DF8E64E113}" destId="{7F235CDF-0008-4B3C-9FEC-A4AE6C582B63}" srcOrd="0" destOrd="0" parTransId="{789118B2-57D8-409B-B2FE-9516F06FDD7C}" sibTransId="{07736A24-FF67-4D97-B689-3E197AE60340}"/>
    <dgm:cxn modelId="{81802F78-C0C8-48E8-9480-F2ADFBE22796}" type="presOf" srcId="{5F4B35AC-CE30-4178-812C-785423D011F3}" destId="{0694ACAF-2A8D-491F-8524-3AEBF53A0344}" srcOrd="0" destOrd="0" presId="urn:microsoft.com/office/officeart/2008/layout/LinedList"/>
    <dgm:cxn modelId="{38CB688C-383A-464D-823F-FA004F769A2E}" type="presOf" srcId="{C25A0C09-BF42-433A-B098-F11B09B08F5A}" destId="{C56C3884-7877-4FC6-A279-2C5F4EE7ADC4}" srcOrd="0" destOrd="0" presId="urn:microsoft.com/office/officeart/2008/layout/LinedList"/>
    <dgm:cxn modelId="{01B44DA0-F939-4821-AF26-BE913E5ECB2D}" srcId="{E8C0646E-00EB-4BA3-B2E5-87DF8E64E113}" destId="{5F4B35AC-CE30-4178-812C-785423D011F3}" srcOrd="1" destOrd="0" parTransId="{7358867B-EB3A-4503-B8A7-E46CD25B765F}" sibTransId="{E467A7AE-C749-4CBF-A4A6-28A9866BCB16}"/>
    <dgm:cxn modelId="{61AB2CB0-3090-4F22-8EB8-8DA212E95B89}" srcId="{E8C0646E-00EB-4BA3-B2E5-87DF8E64E113}" destId="{F9FC3DE6-63AE-433F-A7E0-2B51620A33D0}" srcOrd="2" destOrd="0" parTransId="{5E813C3A-8FAA-4D87-8147-D68041F16D22}" sibTransId="{17FC52CC-577C-4FCD-8ABA-61F40B352509}"/>
    <dgm:cxn modelId="{E4900CC8-2A74-443D-9116-A7B75F451316}" type="presOf" srcId="{7F235CDF-0008-4B3C-9FEC-A4AE6C582B63}" destId="{A7C11694-33A8-4878-AB13-1913B3206BDB}" srcOrd="0" destOrd="0" presId="urn:microsoft.com/office/officeart/2008/layout/LinedList"/>
    <dgm:cxn modelId="{F4F2AD1E-D492-4C38-B7E3-3F63946F58DC}" type="presParOf" srcId="{025E616C-5426-4E19-9A0B-FD63D74B2245}" destId="{67D3E2FE-2ECA-4A6D-8860-B93312F166CC}" srcOrd="0" destOrd="0" presId="urn:microsoft.com/office/officeart/2008/layout/LinedList"/>
    <dgm:cxn modelId="{58B3E9B8-328E-4781-9796-CE5A2546D46A}" type="presParOf" srcId="{025E616C-5426-4E19-9A0B-FD63D74B2245}" destId="{499C7F5E-ED05-4486-90BF-C8AAB0613D3B}" srcOrd="1" destOrd="0" presId="urn:microsoft.com/office/officeart/2008/layout/LinedList"/>
    <dgm:cxn modelId="{335ABB72-5501-46FD-BD13-A5E60B4547A0}" type="presParOf" srcId="{499C7F5E-ED05-4486-90BF-C8AAB0613D3B}" destId="{A7C11694-33A8-4878-AB13-1913B3206BDB}" srcOrd="0" destOrd="0" presId="urn:microsoft.com/office/officeart/2008/layout/LinedList"/>
    <dgm:cxn modelId="{A0757A13-CC32-448B-80F3-208A339AAFC2}" type="presParOf" srcId="{499C7F5E-ED05-4486-90BF-C8AAB0613D3B}" destId="{17DCED7A-BE8A-4509-9109-5B672331DB9C}" srcOrd="1" destOrd="0" presId="urn:microsoft.com/office/officeart/2008/layout/LinedList"/>
    <dgm:cxn modelId="{D6321A74-1AAE-4556-8F8C-59A475C98361}" type="presParOf" srcId="{025E616C-5426-4E19-9A0B-FD63D74B2245}" destId="{23B1F33F-5D58-48E6-B3F0-A5B1CCF918E6}" srcOrd="2" destOrd="0" presId="urn:microsoft.com/office/officeart/2008/layout/LinedList"/>
    <dgm:cxn modelId="{7D880791-2A4C-4431-AB17-EB43C8AB5597}" type="presParOf" srcId="{025E616C-5426-4E19-9A0B-FD63D74B2245}" destId="{5203F572-C354-4237-8024-6955D77DCE38}" srcOrd="3" destOrd="0" presId="urn:microsoft.com/office/officeart/2008/layout/LinedList"/>
    <dgm:cxn modelId="{2B63F57F-A7A4-49CF-AA71-0363C04B41B3}" type="presParOf" srcId="{5203F572-C354-4237-8024-6955D77DCE38}" destId="{0694ACAF-2A8D-491F-8524-3AEBF53A0344}" srcOrd="0" destOrd="0" presId="urn:microsoft.com/office/officeart/2008/layout/LinedList"/>
    <dgm:cxn modelId="{BCD99583-7BFB-4EC2-84BD-331A162019B7}" type="presParOf" srcId="{5203F572-C354-4237-8024-6955D77DCE38}" destId="{4F4AD025-3ECF-4306-81EF-922ABBD3334C}" srcOrd="1" destOrd="0" presId="urn:microsoft.com/office/officeart/2008/layout/LinedList"/>
    <dgm:cxn modelId="{C4825596-723C-4469-8F3F-936AFB4E9AA9}" type="presParOf" srcId="{025E616C-5426-4E19-9A0B-FD63D74B2245}" destId="{BFEB235E-6ED0-49F3-B9CB-10BDD4E5AAEA}" srcOrd="4" destOrd="0" presId="urn:microsoft.com/office/officeart/2008/layout/LinedList"/>
    <dgm:cxn modelId="{05DBB2F0-015A-4004-B636-DD4CF980493F}" type="presParOf" srcId="{025E616C-5426-4E19-9A0B-FD63D74B2245}" destId="{958085D1-6778-497B-86DD-F4D41B1B7E39}" srcOrd="5" destOrd="0" presId="urn:microsoft.com/office/officeart/2008/layout/LinedList"/>
    <dgm:cxn modelId="{C0EFEBB4-7CFD-460D-8192-5FBAD01EDFA8}" type="presParOf" srcId="{958085D1-6778-497B-86DD-F4D41B1B7E39}" destId="{362AD4AF-3EBB-4758-9EE4-A7CEB240AA94}" srcOrd="0" destOrd="0" presId="urn:microsoft.com/office/officeart/2008/layout/LinedList"/>
    <dgm:cxn modelId="{93260CD2-60EE-4B35-9A8A-FFE34BC0E72D}" type="presParOf" srcId="{958085D1-6778-497B-86DD-F4D41B1B7E39}" destId="{CEECEBB1-BB0E-4799-955B-A7B3663C5868}" srcOrd="1" destOrd="0" presId="urn:microsoft.com/office/officeart/2008/layout/LinedList"/>
    <dgm:cxn modelId="{E29B917F-4252-4C8C-969A-AE2398943EA1}" type="presParOf" srcId="{025E616C-5426-4E19-9A0B-FD63D74B2245}" destId="{EBD09BA3-CA87-4BB3-9659-1326E72BF782}" srcOrd="6" destOrd="0" presId="urn:microsoft.com/office/officeart/2008/layout/LinedList"/>
    <dgm:cxn modelId="{8E19634F-4A3D-42AC-8F6E-938B390155BE}" type="presParOf" srcId="{025E616C-5426-4E19-9A0B-FD63D74B2245}" destId="{BA5BA248-5586-47D8-A1B9-3E5F3B5D6DB1}" srcOrd="7" destOrd="0" presId="urn:microsoft.com/office/officeart/2008/layout/LinedList"/>
    <dgm:cxn modelId="{060E1499-8D2D-4127-B285-374ACE69FEB8}" type="presParOf" srcId="{BA5BA248-5586-47D8-A1B9-3E5F3B5D6DB1}" destId="{C56C3884-7877-4FC6-A279-2C5F4EE7ADC4}" srcOrd="0" destOrd="0" presId="urn:microsoft.com/office/officeart/2008/layout/LinedList"/>
    <dgm:cxn modelId="{383AC120-FF9D-4DFC-9A11-8725871386A7}" type="presParOf" srcId="{BA5BA248-5586-47D8-A1B9-3E5F3B5D6DB1}" destId="{BBB0F9C8-74EB-4F46-B523-02728F24F76D}" srcOrd="1" destOrd="0" presId="urn:microsoft.com/office/officeart/2008/layout/LinedList"/>
    <dgm:cxn modelId="{52BC0569-3C0F-48A3-8B65-B044920BECD1}" type="presParOf" srcId="{025E616C-5426-4E19-9A0B-FD63D74B2245}" destId="{FC72D1D8-CD4F-477E-ACD1-908BAA1E4D6F}" srcOrd="8" destOrd="0" presId="urn:microsoft.com/office/officeart/2008/layout/LinedList"/>
    <dgm:cxn modelId="{8925BA50-FDFF-4B64-88D2-C0E291BB9926}" type="presParOf" srcId="{025E616C-5426-4E19-9A0B-FD63D74B2245}" destId="{396C27B2-731B-45DC-9AAB-8FB47598A723}" srcOrd="9" destOrd="0" presId="urn:microsoft.com/office/officeart/2008/layout/LinedList"/>
    <dgm:cxn modelId="{8ADEF669-CB21-46BB-9191-1B249521A267}" type="presParOf" srcId="{396C27B2-731B-45DC-9AAB-8FB47598A723}" destId="{5357E250-70FF-4515-923D-C17F6753BDA3}" srcOrd="0" destOrd="0" presId="urn:microsoft.com/office/officeart/2008/layout/LinedList"/>
    <dgm:cxn modelId="{B0F6B2A7-61B0-4C0A-924C-FE27A6AE0782}" type="presParOf" srcId="{396C27B2-731B-45DC-9AAB-8FB47598A723}" destId="{2BFFDB32-7A52-440C-AD23-55748507F658}" srcOrd="1" destOrd="0" presId="urn:microsoft.com/office/officeart/2008/layout/Lin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B450689-932F-4749-AE7C-915EF0CA24F0}" type="doc">
      <dgm:prSet loTypeId="urn:microsoft.com/office/officeart/2005/8/layout/hierarchy4" loCatId="list" qsTypeId="urn:microsoft.com/office/officeart/2005/8/quickstyle/simple1" qsCatId="simple" csTypeId="urn:microsoft.com/office/officeart/2005/8/colors/accent1_4" csCatId="accent1" phldr="1"/>
      <dgm:spPr/>
      <dgm:t>
        <a:bodyPr/>
        <a:lstStyle/>
        <a:p>
          <a:endParaRPr lang="en-US"/>
        </a:p>
      </dgm:t>
    </dgm:pt>
    <dgm:pt modelId="{89B1B0D7-E176-4E15-8F31-32A0FEE6FBAC}">
      <dgm:prSet/>
      <dgm:spPr/>
      <dgm:t>
        <a:bodyPr/>
        <a:lstStyle/>
        <a:p>
          <a:r>
            <a:rPr lang="en-US" baseline="0" dirty="0"/>
            <a:t>Short names for cmdlets</a:t>
          </a:r>
          <a:endParaRPr lang="en-US" dirty="0"/>
        </a:p>
      </dgm:t>
    </dgm:pt>
    <dgm:pt modelId="{327F99CE-DB96-4C3B-B77F-9DFF7B9E82CB}" type="parTrans" cxnId="{C558104A-17FF-4832-8D8E-298DF70E04A8}">
      <dgm:prSet/>
      <dgm:spPr/>
      <dgm:t>
        <a:bodyPr/>
        <a:lstStyle/>
        <a:p>
          <a:endParaRPr lang="en-US"/>
        </a:p>
      </dgm:t>
    </dgm:pt>
    <dgm:pt modelId="{409E5004-544D-4BD4-B436-3840347F94D4}" type="sibTrans" cxnId="{C558104A-17FF-4832-8D8E-298DF70E04A8}">
      <dgm:prSet/>
      <dgm:spPr/>
      <dgm:t>
        <a:bodyPr/>
        <a:lstStyle/>
        <a:p>
          <a:endParaRPr lang="en-US"/>
        </a:p>
      </dgm:t>
    </dgm:pt>
    <dgm:pt modelId="{CA927279-4CBC-4323-889A-24FC9D7052CE}">
      <dgm:prSet/>
      <dgm:spPr/>
      <dgm:t>
        <a:bodyPr/>
        <a:lstStyle/>
        <a:p>
          <a:r>
            <a:rPr lang="en-US" baseline="0" dirty="0"/>
            <a:t>Can be built in or created by User</a:t>
          </a:r>
          <a:endParaRPr lang="en-US" dirty="0"/>
        </a:p>
      </dgm:t>
    </dgm:pt>
    <dgm:pt modelId="{E3446592-3FBB-45C4-8D0E-66C5EF70F005}" type="parTrans" cxnId="{D0ED2D10-FAAF-4ADC-9CB8-0F3B95F8CB0F}">
      <dgm:prSet/>
      <dgm:spPr/>
      <dgm:t>
        <a:bodyPr/>
        <a:lstStyle/>
        <a:p>
          <a:endParaRPr lang="en-US"/>
        </a:p>
      </dgm:t>
    </dgm:pt>
    <dgm:pt modelId="{FEC75C9D-A947-45DE-9B41-1C31F741F034}" type="sibTrans" cxnId="{D0ED2D10-FAAF-4ADC-9CB8-0F3B95F8CB0F}">
      <dgm:prSet/>
      <dgm:spPr/>
      <dgm:t>
        <a:bodyPr/>
        <a:lstStyle/>
        <a:p>
          <a:endParaRPr lang="en-US"/>
        </a:p>
      </dgm:t>
    </dgm:pt>
    <dgm:pt modelId="{8FB9EB8F-A9D7-415A-9D6C-79524E7FDB02}">
      <dgm:prSet/>
      <dgm:spPr/>
      <dgm:t>
        <a:bodyPr/>
        <a:lstStyle/>
        <a:p>
          <a:r>
            <a:rPr lang="en-US" baseline="0" dirty="0"/>
            <a:t>Use Parameter Names or Positions as you normally would</a:t>
          </a:r>
          <a:endParaRPr lang="en-US" dirty="0"/>
        </a:p>
      </dgm:t>
    </dgm:pt>
    <dgm:pt modelId="{344012E4-E76B-4B65-97E8-F0D14368B2E4}" type="parTrans" cxnId="{2B58157B-3781-43D4-896B-CFFA9054BCA9}">
      <dgm:prSet/>
      <dgm:spPr/>
      <dgm:t>
        <a:bodyPr/>
        <a:lstStyle/>
        <a:p>
          <a:endParaRPr lang="en-US"/>
        </a:p>
      </dgm:t>
    </dgm:pt>
    <dgm:pt modelId="{CB262568-0F30-4B61-819D-917E237F3BC1}" type="sibTrans" cxnId="{2B58157B-3781-43D4-896B-CFFA9054BCA9}">
      <dgm:prSet/>
      <dgm:spPr/>
      <dgm:t>
        <a:bodyPr/>
        <a:lstStyle/>
        <a:p>
          <a:endParaRPr lang="en-US"/>
        </a:p>
      </dgm:t>
    </dgm:pt>
    <dgm:pt modelId="{B21EE2F6-8ED1-480B-B38F-1B8B0394DE9F}" type="pres">
      <dgm:prSet presAssocID="{2B450689-932F-4749-AE7C-915EF0CA24F0}" presName="Name0" presStyleCnt="0">
        <dgm:presLayoutVars>
          <dgm:chPref val="1"/>
          <dgm:dir/>
          <dgm:animOne val="branch"/>
          <dgm:animLvl val="lvl"/>
          <dgm:resizeHandles/>
        </dgm:presLayoutVars>
      </dgm:prSet>
      <dgm:spPr/>
    </dgm:pt>
    <dgm:pt modelId="{D15E1E89-BDE7-4551-B6E4-C47C90CCBC72}" type="pres">
      <dgm:prSet presAssocID="{89B1B0D7-E176-4E15-8F31-32A0FEE6FBAC}" presName="vertOne" presStyleCnt="0"/>
      <dgm:spPr/>
    </dgm:pt>
    <dgm:pt modelId="{5DFD6172-1F51-4295-9AB5-43A34BA58CAB}" type="pres">
      <dgm:prSet presAssocID="{89B1B0D7-E176-4E15-8F31-32A0FEE6FBAC}" presName="txOne" presStyleLbl="node0" presStyleIdx="0" presStyleCnt="3">
        <dgm:presLayoutVars>
          <dgm:chPref val="3"/>
        </dgm:presLayoutVars>
      </dgm:prSet>
      <dgm:spPr/>
    </dgm:pt>
    <dgm:pt modelId="{8655564A-E4B5-4A14-8FEB-060143A363A3}" type="pres">
      <dgm:prSet presAssocID="{89B1B0D7-E176-4E15-8F31-32A0FEE6FBAC}" presName="horzOne" presStyleCnt="0"/>
      <dgm:spPr/>
    </dgm:pt>
    <dgm:pt modelId="{B6FCE653-5CF0-411A-9BD1-638C83BBDD0E}" type="pres">
      <dgm:prSet presAssocID="{409E5004-544D-4BD4-B436-3840347F94D4}" presName="sibSpaceOne" presStyleCnt="0"/>
      <dgm:spPr/>
    </dgm:pt>
    <dgm:pt modelId="{BD97E8D8-08B6-4D9C-B2A4-D6FE76358C65}" type="pres">
      <dgm:prSet presAssocID="{CA927279-4CBC-4323-889A-24FC9D7052CE}" presName="vertOne" presStyleCnt="0"/>
      <dgm:spPr/>
    </dgm:pt>
    <dgm:pt modelId="{44AC4657-B80E-475F-BBE7-DB6A03998D99}" type="pres">
      <dgm:prSet presAssocID="{CA927279-4CBC-4323-889A-24FC9D7052CE}" presName="txOne" presStyleLbl="node0" presStyleIdx="1" presStyleCnt="3">
        <dgm:presLayoutVars>
          <dgm:chPref val="3"/>
        </dgm:presLayoutVars>
      </dgm:prSet>
      <dgm:spPr/>
    </dgm:pt>
    <dgm:pt modelId="{7563B93B-2E1C-4378-8BA2-8FAF2A1A7E3F}" type="pres">
      <dgm:prSet presAssocID="{CA927279-4CBC-4323-889A-24FC9D7052CE}" presName="horzOne" presStyleCnt="0"/>
      <dgm:spPr/>
    </dgm:pt>
    <dgm:pt modelId="{3DD94062-C739-441B-8E59-4D2D96753BF9}" type="pres">
      <dgm:prSet presAssocID="{FEC75C9D-A947-45DE-9B41-1C31F741F034}" presName="sibSpaceOne" presStyleCnt="0"/>
      <dgm:spPr/>
    </dgm:pt>
    <dgm:pt modelId="{79D704A8-29E3-4B37-9027-4BBE9D98A19F}" type="pres">
      <dgm:prSet presAssocID="{8FB9EB8F-A9D7-415A-9D6C-79524E7FDB02}" presName="vertOne" presStyleCnt="0"/>
      <dgm:spPr/>
    </dgm:pt>
    <dgm:pt modelId="{1C2D36A3-D1E1-4D1A-BCC4-5BB70608C254}" type="pres">
      <dgm:prSet presAssocID="{8FB9EB8F-A9D7-415A-9D6C-79524E7FDB02}" presName="txOne" presStyleLbl="node0" presStyleIdx="2" presStyleCnt="3">
        <dgm:presLayoutVars>
          <dgm:chPref val="3"/>
        </dgm:presLayoutVars>
      </dgm:prSet>
      <dgm:spPr/>
    </dgm:pt>
    <dgm:pt modelId="{A550AA2D-B7B9-4E82-8724-EFFD45BAE035}" type="pres">
      <dgm:prSet presAssocID="{8FB9EB8F-A9D7-415A-9D6C-79524E7FDB02}" presName="horzOne" presStyleCnt="0"/>
      <dgm:spPr/>
    </dgm:pt>
  </dgm:ptLst>
  <dgm:cxnLst>
    <dgm:cxn modelId="{84EA0A02-30AE-4FDA-BCC2-4DB2CDD6A699}" type="presOf" srcId="{CA927279-4CBC-4323-889A-24FC9D7052CE}" destId="{44AC4657-B80E-475F-BBE7-DB6A03998D99}" srcOrd="0" destOrd="0" presId="urn:microsoft.com/office/officeart/2005/8/layout/hierarchy4"/>
    <dgm:cxn modelId="{D0ED2D10-FAAF-4ADC-9CB8-0F3B95F8CB0F}" srcId="{2B450689-932F-4749-AE7C-915EF0CA24F0}" destId="{CA927279-4CBC-4323-889A-24FC9D7052CE}" srcOrd="1" destOrd="0" parTransId="{E3446592-3FBB-45C4-8D0E-66C5EF70F005}" sibTransId="{FEC75C9D-A947-45DE-9B41-1C31F741F034}"/>
    <dgm:cxn modelId="{FC5FE23A-A3C1-4533-A5D9-4DF2A39C544F}" type="presOf" srcId="{89B1B0D7-E176-4E15-8F31-32A0FEE6FBAC}" destId="{5DFD6172-1F51-4295-9AB5-43A34BA58CAB}" srcOrd="0" destOrd="0" presId="urn:microsoft.com/office/officeart/2005/8/layout/hierarchy4"/>
    <dgm:cxn modelId="{C558104A-17FF-4832-8D8E-298DF70E04A8}" srcId="{2B450689-932F-4749-AE7C-915EF0CA24F0}" destId="{89B1B0D7-E176-4E15-8F31-32A0FEE6FBAC}" srcOrd="0" destOrd="0" parTransId="{327F99CE-DB96-4C3B-B77F-9DFF7B9E82CB}" sibTransId="{409E5004-544D-4BD4-B436-3840347F94D4}"/>
    <dgm:cxn modelId="{2B58157B-3781-43D4-896B-CFFA9054BCA9}" srcId="{2B450689-932F-4749-AE7C-915EF0CA24F0}" destId="{8FB9EB8F-A9D7-415A-9D6C-79524E7FDB02}" srcOrd="2" destOrd="0" parTransId="{344012E4-E76B-4B65-97E8-F0D14368B2E4}" sibTransId="{CB262568-0F30-4B61-819D-917E237F3BC1}"/>
    <dgm:cxn modelId="{A0C355C9-2C14-46AD-AF51-C235DA1EB8FA}" type="presOf" srcId="{2B450689-932F-4749-AE7C-915EF0CA24F0}" destId="{B21EE2F6-8ED1-480B-B38F-1B8B0394DE9F}" srcOrd="0" destOrd="0" presId="urn:microsoft.com/office/officeart/2005/8/layout/hierarchy4"/>
    <dgm:cxn modelId="{5C11D5E4-121F-4007-ADF3-81CE8BE50569}" type="presOf" srcId="{8FB9EB8F-A9D7-415A-9D6C-79524E7FDB02}" destId="{1C2D36A3-D1E1-4D1A-BCC4-5BB70608C254}" srcOrd="0" destOrd="0" presId="urn:microsoft.com/office/officeart/2005/8/layout/hierarchy4"/>
    <dgm:cxn modelId="{5836C9A0-A531-48E8-AC41-2243D4EBB89E}" type="presParOf" srcId="{B21EE2F6-8ED1-480B-B38F-1B8B0394DE9F}" destId="{D15E1E89-BDE7-4551-B6E4-C47C90CCBC72}" srcOrd="0" destOrd="0" presId="urn:microsoft.com/office/officeart/2005/8/layout/hierarchy4"/>
    <dgm:cxn modelId="{3460280C-20A0-4C8D-A966-F4856CEE40AE}" type="presParOf" srcId="{D15E1E89-BDE7-4551-B6E4-C47C90CCBC72}" destId="{5DFD6172-1F51-4295-9AB5-43A34BA58CAB}" srcOrd="0" destOrd="0" presId="urn:microsoft.com/office/officeart/2005/8/layout/hierarchy4"/>
    <dgm:cxn modelId="{713CAE22-4FD3-488D-AD06-D74C57C20661}" type="presParOf" srcId="{D15E1E89-BDE7-4551-B6E4-C47C90CCBC72}" destId="{8655564A-E4B5-4A14-8FEB-060143A363A3}" srcOrd="1" destOrd="0" presId="urn:microsoft.com/office/officeart/2005/8/layout/hierarchy4"/>
    <dgm:cxn modelId="{4E1B6FB7-15D8-4F67-9A84-A3FCD2D17A90}" type="presParOf" srcId="{B21EE2F6-8ED1-480B-B38F-1B8B0394DE9F}" destId="{B6FCE653-5CF0-411A-9BD1-638C83BBDD0E}" srcOrd="1" destOrd="0" presId="urn:microsoft.com/office/officeart/2005/8/layout/hierarchy4"/>
    <dgm:cxn modelId="{D0DA12A7-ECF4-49C3-AD0A-9EAC3DA8FFD0}" type="presParOf" srcId="{B21EE2F6-8ED1-480B-B38F-1B8B0394DE9F}" destId="{BD97E8D8-08B6-4D9C-B2A4-D6FE76358C65}" srcOrd="2" destOrd="0" presId="urn:microsoft.com/office/officeart/2005/8/layout/hierarchy4"/>
    <dgm:cxn modelId="{9F201A45-5072-4F38-8928-1FE801F2D20B}" type="presParOf" srcId="{BD97E8D8-08B6-4D9C-B2A4-D6FE76358C65}" destId="{44AC4657-B80E-475F-BBE7-DB6A03998D99}" srcOrd="0" destOrd="0" presId="urn:microsoft.com/office/officeart/2005/8/layout/hierarchy4"/>
    <dgm:cxn modelId="{DE2EA870-7174-444B-84B8-0E29D3C137A8}" type="presParOf" srcId="{BD97E8D8-08B6-4D9C-B2A4-D6FE76358C65}" destId="{7563B93B-2E1C-4378-8BA2-8FAF2A1A7E3F}" srcOrd="1" destOrd="0" presId="urn:microsoft.com/office/officeart/2005/8/layout/hierarchy4"/>
    <dgm:cxn modelId="{DF3019F0-CF69-4C3A-B3A6-7A066CBB5AC0}" type="presParOf" srcId="{B21EE2F6-8ED1-480B-B38F-1B8B0394DE9F}" destId="{3DD94062-C739-441B-8E59-4D2D96753BF9}" srcOrd="3" destOrd="0" presId="urn:microsoft.com/office/officeart/2005/8/layout/hierarchy4"/>
    <dgm:cxn modelId="{79CC4C39-881C-4EA8-A9E8-7D201EDD5863}" type="presParOf" srcId="{B21EE2F6-8ED1-480B-B38F-1B8B0394DE9F}" destId="{79D704A8-29E3-4B37-9027-4BBE9D98A19F}" srcOrd="4" destOrd="0" presId="urn:microsoft.com/office/officeart/2005/8/layout/hierarchy4"/>
    <dgm:cxn modelId="{0EC445A0-9CF7-463F-BBF9-11E4460186A1}" type="presParOf" srcId="{79D704A8-29E3-4B37-9027-4BBE9D98A19F}" destId="{1C2D36A3-D1E1-4D1A-BCC4-5BB70608C254}" srcOrd="0" destOrd="0" presId="urn:microsoft.com/office/officeart/2005/8/layout/hierarchy4"/>
    <dgm:cxn modelId="{FD700C64-3098-4636-9589-B386436D1E50}" type="presParOf" srcId="{79D704A8-29E3-4B37-9027-4BBE9D98A19F}" destId="{A550AA2D-B7B9-4E82-8724-EFFD45BAE035}" srcOrd="1" destOrd="0" presId="urn:microsoft.com/office/officeart/2005/8/layout/hierarchy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6DFC28B-046E-46BF-ABEF-813E86E38D93}" type="doc">
      <dgm:prSet loTypeId="urn:microsoft.com/office/officeart/2018/2/layout/IconCircleList" loCatId="icon" qsTypeId="urn:microsoft.com/office/officeart/2005/8/quickstyle/simple5" qsCatId="simple" csTypeId="urn:microsoft.com/office/officeart/2005/8/colors/accent1_2" csCatId="accent1" phldr="1"/>
      <dgm:spPr/>
      <dgm:t>
        <a:bodyPr/>
        <a:lstStyle/>
        <a:p>
          <a:endParaRPr lang="en-US"/>
        </a:p>
      </dgm:t>
    </dgm:pt>
    <dgm:pt modelId="{9BF002BB-57E5-4B8B-AB95-8DD530A7A541}">
      <dgm:prSet/>
      <dgm:spPr/>
      <dgm:t>
        <a:bodyPr/>
        <a:lstStyle/>
        <a:p>
          <a:pPr>
            <a:lnSpc>
              <a:spcPct val="100000"/>
            </a:lnSpc>
          </a:pPr>
          <a:r>
            <a:rPr lang="en-US" dirty="0"/>
            <a:t>Reusable block of PowerShell code</a:t>
          </a:r>
        </a:p>
      </dgm:t>
    </dgm:pt>
    <dgm:pt modelId="{15390401-3DCF-445F-84AA-4F4564DA73C2}" type="parTrans" cxnId="{3CFF4FFD-6C02-48A5-B8E1-85816C705159}">
      <dgm:prSet/>
      <dgm:spPr/>
      <dgm:t>
        <a:bodyPr/>
        <a:lstStyle/>
        <a:p>
          <a:endParaRPr lang="en-US"/>
        </a:p>
      </dgm:t>
    </dgm:pt>
    <dgm:pt modelId="{EF2A19F7-2B23-432A-A34E-1DF3EF911DB6}" type="sibTrans" cxnId="{3CFF4FFD-6C02-48A5-B8E1-85816C705159}">
      <dgm:prSet/>
      <dgm:spPr/>
      <dgm:t>
        <a:bodyPr/>
        <a:lstStyle/>
        <a:p>
          <a:pPr>
            <a:lnSpc>
              <a:spcPct val="100000"/>
            </a:lnSpc>
          </a:pPr>
          <a:endParaRPr lang="en-US"/>
        </a:p>
      </dgm:t>
    </dgm:pt>
    <dgm:pt modelId="{994D8903-7A98-4673-8A78-939F11D729AF}">
      <dgm:prSet/>
      <dgm:spPr/>
      <dgm:t>
        <a:bodyPr/>
        <a:lstStyle/>
        <a:p>
          <a:pPr>
            <a:lnSpc>
              <a:spcPct val="100000"/>
            </a:lnSpc>
          </a:pPr>
          <a:r>
            <a:rPr lang="en-US" dirty="0"/>
            <a:t>Reduces size of code and increases reliability</a:t>
          </a:r>
        </a:p>
      </dgm:t>
    </dgm:pt>
    <dgm:pt modelId="{88E8B36F-E007-434F-A97F-D0F5700B7CED}" type="parTrans" cxnId="{A8919381-E4D4-4DD8-84C1-F087A329666A}">
      <dgm:prSet/>
      <dgm:spPr/>
      <dgm:t>
        <a:bodyPr/>
        <a:lstStyle/>
        <a:p>
          <a:endParaRPr lang="en-US"/>
        </a:p>
      </dgm:t>
    </dgm:pt>
    <dgm:pt modelId="{76497D4D-DFAE-4D74-93E0-440A47424A6D}" type="sibTrans" cxnId="{A8919381-E4D4-4DD8-84C1-F087A329666A}">
      <dgm:prSet/>
      <dgm:spPr/>
      <dgm:t>
        <a:bodyPr/>
        <a:lstStyle/>
        <a:p>
          <a:pPr>
            <a:lnSpc>
              <a:spcPct val="100000"/>
            </a:lnSpc>
          </a:pPr>
          <a:endParaRPr lang="en-US"/>
        </a:p>
      </dgm:t>
    </dgm:pt>
    <dgm:pt modelId="{F662FD85-8F73-48E1-9A9A-F13FF5E66AD5}">
      <dgm:prSet/>
      <dgm:spPr/>
      <dgm:t>
        <a:bodyPr/>
        <a:lstStyle/>
        <a:p>
          <a:pPr>
            <a:lnSpc>
              <a:spcPct val="100000"/>
            </a:lnSpc>
          </a:pPr>
          <a:r>
            <a:rPr lang="en-US" dirty="0"/>
            <a:t>Can accept parameter values and return output</a:t>
          </a:r>
        </a:p>
      </dgm:t>
    </dgm:pt>
    <dgm:pt modelId="{84A6DB01-BE8A-49CB-BE57-D70002380A01}" type="parTrans" cxnId="{ABAACC69-0D20-4901-B616-2A5D2335FC48}">
      <dgm:prSet/>
      <dgm:spPr/>
      <dgm:t>
        <a:bodyPr/>
        <a:lstStyle/>
        <a:p>
          <a:endParaRPr lang="en-US"/>
        </a:p>
      </dgm:t>
    </dgm:pt>
    <dgm:pt modelId="{410D28F6-32C8-470B-A46D-0A113494E2CE}" type="sibTrans" cxnId="{ABAACC69-0D20-4901-B616-2A5D2335FC48}">
      <dgm:prSet/>
      <dgm:spPr/>
      <dgm:t>
        <a:bodyPr/>
        <a:lstStyle/>
        <a:p>
          <a:pPr>
            <a:lnSpc>
              <a:spcPct val="100000"/>
            </a:lnSpc>
          </a:pPr>
          <a:endParaRPr lang="en-US"/>
        </a:p>
      </dgm:t>
    </dgm:pt>
    <dgm:pt modelId="{F982366D-1431-46D6-A62C-B4EE06848E16}">
      <dgm:prSet/>
      <dgm:spPr/>
      <dgm:t>
        <a:bodyPr/>
        <a:lstStyle/>
        <a:p>
          <a:pPr>
            <a:lnSpc>
              <a:spcPct val="100000"/>
            </a:lnSpc>
          </a:pPr>
          <a:r>
            <a:rPr lang="en-US" dirty="0"/>
            <a:t>Building blocks for Modules</a:t>
          </a:r>
        </a:p>
      </dgm:t>
    </dgm:pt>
    <dgm:pt modelId="{9D4AE19C-C725-462F-AD9F-763310CD56AE}" type="parTrans" cxnId="{22643898-039C-47E8-A21D-3FE40C718880}">
      <dgm:prSet/>
      <dgm:spPr/>
      <dgm:t>
        <a:bodyPr/>
        <a:lstStyle/>
        <a:p>
          <a:endParaRPr lang="en-US"/>
        </a:p>
      </dgm:t>
    </dgm:pt>
    <dgm:pt modelId="{C5A20130-38F0-424D-9467-236B5462671E}" type="sibTrans" cxnId="{22643898-039C-47E8-A21D-3FE40C718880}">
      <dgm:prSet/>
      <dgm:spPr/>
      <dgm:t>
        <a:bodyPr/>
        <a:lstStyle/>
        <a:p>
          <a:endParaRPr lang="en-US"/>
        </a:p>
      </dgm:t>
    </dgm:pt>
    <dgm:pt modelId="{D47C9969-2B89-4524-BE36-FB9C3134755A}" type="pres">
      <dgm:prSet presAssocID="{16DFC28B-046E-46BF-ABEF-813E86E38D93}" presName="root" presStyleCnt="0">
        <dgm:presLayoutVars>
          <dgm:dir/>
          <dgm:resizeHandles val="exact"/>
        </dgm:presLayoutVars>
      </dgm:prSet>
      <dgm:spPr/>
    </dgm:pt>
    <dgm:pt modelId="{DB2A0FEE-4A2F-4ABD-81C2-2AA176EAFB27}" type="pres">
      <dgm:prSet presAssocID="{16DFC28B-046E-46BF-ABEF-813E86E38D93}" presName="container" presStyleCnt="0">
        <dgm:presLayoutVars>
          <dgm:dir/>
          <dgm:resizeHandles val="exact"/>
        </dgm:presLayoutVars>
      </dgm:prSet>
      <dgm:spPr/>
    </dgm:pt>
    <dgm:pt modelId="{37221233-998D-4110-8739-75818E317F2B}" type="pres">
      <dgm:prSet presAssocID="{9BF002BB-57E5-4B8B-AB95-8DD530A7A541}" presName="compNode" presStyleCnt="0"/>
      <dgm:spPr/>
    </dgm:pt>
    <dgm:pt modelId="{26F78212-9B81-497F-A19F-C8C6FFD52934}" type="pres">
      <dgm:prSet presAssocID="{9BF002BB-57E5-4B8B-AB95-8DD530A7A541}" presName="iconBgRect" presStyleLbl="bgShp" presStyleIdx="0" presStyleCnt="4"/>
      <dgm:spPr/>
    </dgm:pt>
    <dgm:pt modelId="{ECAA08C8-A712-4C90-9611-F6153111DDCF}" type="pres">
      <dgm:prSet presAssocID="{9BF002BB-57E5-4B8B-AB95-8DD530A7A541}"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inary"/>
        </a:ext>
      </dgm:extLst>
    </dgm:pt>
    <dgm:pt modelId="{9701079C-284B-478B-A8EC-16345800C964}" type="pres">
      <dgm:prSet presAssocID="{9BF002BB-57E5-4B8B-AB95-8DD530A7A541}" presName="spaceRect" presStyleCnt="0"/>
      <dgm:spPr/>
    </dgm:pt>
    <dgm:pt modelId="{697F905B-5EB3-4CA3-9CE6-3864EBD1C570}" type="pres">
      <dgm:prSet presAssocID="{9BF002BB-57E5-4B8B-AB95-8DD530A7A541}" presName="textRect" presStyleLbl="revTx" presStyleIdx="0" presStyleCnt="4">
        <dgm:presLayoutVars>
          <dgm:chMax val="1"/>
          <dgm:chPref val="1"/>
        </dgm:presLayoutVars>
      </dgm:prSet>
      <dgm:spPr/>
    </dgm:pt>
    <dgm:pt modelId="{61A947C6-BABC-4857-A2D4-8A5B16291523}" type="pres">
      <dgm:prSet presAssocID="{EF2A19F7-2B23-432A-A34E-1DF3EF911DB6}" presName="sibTrans" presStyleLbl="sibTrans2D1" presStyleIdx="0" presStyleCnt="0"/>
      <dgm:spPr/>
    </dgm:pt>
    <dgm:pt modelId="{7FD86318-8969-44AA-B09E-F582F8E9E142}" type="pres">
      <dgm:prSet presAssocID="{994D8903-7A98-4673-8A78-939F11D729AF}" presName="compNode" presStyleCnt="0"/>
      <dgm:spPr/>
    </dgm:pt>
    <dgm:pt modelId="{3BAA17C3-3D6A-410F-A346-9BF93D7F0F25}" type="pres">
      <dgm:prSet presAssocID="{994D8903-7A98-4673-8A78-939F11D729AF}" presName="iconBgRect" presStyleLbl="bgShp" presStyleIdx="1" presStyleCnt="4"/>
      <dgm:spPr/>
    </dgm:pt>
    <dgm:pt modelId="{542DD7A2-E66F-4A85-BA4C-BFE36904AE90}" type="pres">
      <dgm:prSet presAssocID="{994D8903-7A98-4673-8A78-939F11D729AF}"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Checkmark"/>
        </a:ext>
      </dgm:extLst>
    </dgm:pt>
    <dgm:pt modelId="{28BC242C-13B5-44E5-A51B-E1EE75F91749}" type="pres">
      <dgm:prSet presAssocID="{994D8903-7A98-4673-8A78-939F11D729AF}" presName="spaceRect" presStyleCnt="0"/>
      <dgm:spPr/>
    </dgm:pt>
    <dgm:pt modelId="{E71E3E7B-990C-4E7E-95F5-FF1AD775C6CD}" type="pres">
      <dgm:prSet presAssocID="{994D8903-7A98-4673-8A78-939F11D729AF}" presName="textRect" presStyleLbl="revTx" presStyleIdx="1" presStyleCnt="4">
        <dgm:presLayoutVars>
          <dgm:chMax val="1"/>
          <dgm:chPref val="1"/>
        </dgm:presLayoutVars>
      </dgm:prSet>
      <dgm:spPr/>
    </dgm:pt>
    <dgm:pt modelId="{8596881D-B196-4B6D-9930-6A60E60799C8}" type="pres">
      <dgm:prSet presAssocID="{76497D4D-DFAE-4D74-93E0-440A47424A6D}" presName="sibTrans" presStyleLbl="sibTrans2D1" presStyleIdx="0" presStyleCnt="0"/>
      <dgm:spPr/>
    </dgm:pt>
    <dgm:pt modelId="{7EA327BB-1982-4818-B3C9-2784F6B99E5C}" type="pres">
      <dgm:prSet presAssocID="{F662FD85-8F73-48E1-9A9A-F13FF5E66AD5}" presName="compNode" presStyleCnt="0"/>
      <dgm:spPr/>
    </dgm:pt>
    <dgm:pt modelId="{EFD2B2FA-B76A-449A-99DC-245E75D7DFBC}" type="pres">
      <dgm:prSet presAssocID="{F662FD85-8F73-48E1-9A9A-F13FF5E66AD5}" presName="iconBgRect" presStyleLbl="bgShp" presStyleIdx="2" presStyleCnt="4"/>
      <dgm:spPr/>
    </dgm:pt>
    <dgm:pt modelId="{DE1C91EB-69C3-49B2-8A3D-C092571A24A3}" type="pres">
      <dgm:prSet presAssocID="{F662FD85-8F73-48E1-9A9A-F13FF5E66AD5}"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Plug"/>
        </a:ext>
      </dgm:extLst>
    </dgm:pt>
    <dgm:pt modelId="{0D4605E8-A74C-4D25-A5DC-794453F81FED}" type="pres">
      <dgm:prSet presAssocID="{F662FD85-8F73-48E1-9A9A-F13FF5E66AD5}" presName="spaceRect" presStyleCnt="0"/>
      <dgm:spPr/>
    </dgm:pt>
    <dgm:pt modelId="{2EFE3F85-DC39-4CA4-8D14-A993FD598678}" type="pres">
      <dgm:prSet presAssocID="{F662FD85-8F73-48E1-9A9A-F13FF5E66AD5}" presName="textRect" presStyleLbl="revTx" presStyleIdx="2" presStyleCnt="4">
        <dgm:presLayoutVars>
          <dgm:chMax val="1"/>
          <dgm:chPref val="1"/>
        </dgm:presLayoutVars>
      </dgm:prSet>
      <dgm:spPr/>
    </dgm:pt>
    <dgm:pt modelId="{FC072E6E-F546-4A81-A2D3-07D985339B9A}" type="pres">
      <dgm:prSet presAssocID="{410D28F6-32C8-470B-A46D-0A113494E2CE}" presName="sibTrans" presStyleLbl="sibTrans2D1" presStyleIdx="0" presStyleCnt="0"/>
      <dgm:spPr/>
    </dgm:pt>
    <dgm:pt modelId="{6E6CFC63-DC86-4893-AED5-1EC534CDF0DD}" type="pres">
      <dgm:prSet presAssocID="{F982366D-1431-46D6-A62C-B4EE06848E16}" presName="compNode" presStyleCnt="0"/>
      <dgm:spPr/>
    </dgm:pt>
    <dgm:pt modelId="{8F9D341B-5457-4EE1-A952-F276599EDACE}" type="pres">
      <dgm:prSet presAssocID="{F982366D-1431-46D6-A62C-B4EE06848E16}" presName="iconBgRect" presStyleLbl="bgShp" presStyleIdx="3" presStyleCnt="4"/>
      <dgm:spPr/>
    </dgm:pt>
    <dgm:pt modelId="{F4ADFB1D-D9FC-45A5-BAF1-004838B18054}" type="pres">
      <dgm:prSet presAssocID="{F982366D-1431-46D6-A62C-B4EE06848E16}"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Warehouse"/>
        </a:ext>
      </dgm:extLst>
    </dgm:pt>
    <dgm:pt modelId="{6A2D2935-250A-4BB9-B0BF-EC5DB6909A68}" type="pres">
      <dgm:prSet presAssocID="{F982366D-1431-46D6-A62C-B4EE06848E16}" presName="spaceRect" presStyleCnt="0"/>
      <dgm:spPr/>
    </dgm:pt>
    <dgm:pt modelId="{048ACB16-AC9D-4705-A192-78698616193B}" type="pres">
      <dgm:prSet presAssocID="{F982366D-1431-46D6-A62C-B4EE06848E16}" presName="textRect" presStyleLbl="revTx" presStyleIdx="3" presStyleCnt="4">
        <dgm:presLayoutVars>
          <dgm:chMax val="1"/>
          <dgm:chPref val="1"/>
        </dgm:presLayoutVars>
      </dgm:prSet>
      <dgm:spPr/>
    </dgm:pt>
  </dgm:ptLst>
  <dgm:cxnLst>
    <dgm:cxn modelId="{FE3FB217-1FF4-4772-B038-B4B1ABDB7AF7}" type="presOf" srcId="{16DFC28B-046E-46BF-ABEF-813E86E38D93}" destId="{D47C9969-2B89-4524-BE36-FB9C3134755A}" srcOrd="0" destOrd="0" presId="urn:microsoft.com/office/officeart/2018/2/layout/IconCircleList"/>
    <dgm:cxn modelId="{164D2444-749D-4D76-B71E-B00A72D2915E}" type="presOf" srcId="{9BF002BB-57E5-4B8B-AB95-8DD530A7A541}" destId="{697F905B-5EB3-4CA3-9CE6-3864EBD1C570}" srcOrd="0" destOrd="0" presId="urn:microsoft.com/office/officeart/2018/2/layout/IconCircleList"/>
    <dgm:cxn modelId="{ABAACC69-0D20-4901-B616-2A5D2335FC48}" srcId="{16DFC28B-046E-46BF-ABEF-813E86E38D93}" destId="{F662FD85-8F73-48E1-9A9A-F13FF5E66AD5}" srcOrd="2" destOrd="0" parTransId="{84A6DB01-BE8A-49CB-BE57-D70002380A01}" sibTransId="{410D28F6-32C8-470B-A46D-0A113494E2CE}"/>
    <dgm:cxn modelId="{A8919381-E4D4-4DD8-84C1-F087A329666A}" srcId="{16DFC28B-046E-46BF-ABEF-813E86E38D93}" destId="{994D8903-7A98-4673-8A78-939F11D729AF}" srcOrd="1" destOrd="0" parTransId="{88E8B36F-E007-434F-A97F-D0F5700B7CED}" sibTransId="{76497D4D-DFAE-4D74-93E0-440A47424A6D}"/>
    <dgm:cxn modelId="{8D491293-978B-44FA-BC0B-FD7941817895}" type="presOf" srcId="{76497D4D-DFAE-4D74-93E0-440A47424A6D}" destId="{8596881D-B196-4B6D-9930-6A60E60799C8}" srcOrd="0" destOrd="0" presId="urn:microsoft.com/office/officeart/2018/2/layout/IconCircleList"/>
    <dgm:cxn modelId="{22643898-039C-47E8-A21D-3FE40C718880}" srcId="{16DFC28B-046E-46BF-ABEF-813E86E38D93}" destId="{F982366D-1431-46D6-A62C-B4EE06848E16}" srcOrd="3" destOrd="0" parTransId="{9D4AE19C-C725-462F-AD9F-763310CD56AE}" sibTransId="{C5A20130-38F0-424D-9467-236B5462671E}"/>
    <dgm:cxn modelId="{AD53D099-6D95-4BB8-82BD-75D73110DD0F}" type="presOf" srcId="{410D28F6-32C8-470B-A46D-0A113494E2CE}" destId="{FC072E6E-F546-4A81-A2D3-07D985339B9A}" srcOrd="0" destOrd="0" presId="urn:microsoft.com/office/officeart/2018/2/layout/IconCircleList"/>
    <dgm:cxn modelId="{3936FAAC-3717-4CA9-847B-CEDB9AAC6C5A}" type="presOf" srcId="{994D8903-7A98-4673-8A78-939F11D729AF}" destId="{E71E3E7B-990C-4E7E-95F5-FF1AD775C6CD}" srcOrd="0" destOrd="0" presId="urn:microsoft.com/office/officeart/2018/2/layout/IconCircleList"/>
    <dgm:cxn modelId="{A01F36B6-EB4D-436F-8174-891644194C7B}" type="presOf" srcId="{EF2A19F7-2B23-432A-A34E-1DF3EF911DB6}" destId="{61A947C6-BABC-4857-A2D4-8A5B16291523}" srcOrd="0" destOrd="0" presId="urn:microsoft.com/office/officeart/2018/2/layout/IconCircleList"/>
    <dgm:cxn modelId="{B5E322C4-CC58-42DF-90FC-5D2A82AF5FEB}" type="presOf" srcId="{F662FD85-8F73-48E1-9A9A-F13FF5E66AD5}" destId="{2EFE3F85-DC39-4CA4-8D14-A993FD598678}" srcOrd="0" destOrd="0" presId="urn:microsoft.com/office/officeart/2018/2/layout/IconCircleList"/>
    <dgm:cxn modelId="{65693FC9-2F65-4AD6-A50A-13CC62FAA13C}" type="presOf" srcId="{F982366D-1431-46D6-A62C-B4EE06848E16}" destId="{048ACB16-AC9D-4705-A192-78698616193B}" srcOrd="0" destOrd="0" presId="urn:microsoft.com/office/officeart/2018/2/layout/IconCircleList"/>
    <dgm:cxn modelId="{3CFF4FFD-6C02-48A5-B8E1-85816C705159}" srcId="{16DFC28B-046E-46BF-ABEF-813E86E38D93}" destId="{9BF002BB-57E5-4B8B-AB95-8DD530A7A541}" srcOrd="0" destOrd="0" parTransId="{15390401-3DCF-445F-84AA-4F4564DA73C2}" sibTransId="{EF2A19F7-2B23-432A-A34E-1DF3EF911DB6}"/>
    <dgm:cxn modelId="{8B4964F5-F4F0-422C-BC81-98BDE4A39F90}" type="presParOf" srcId="{D47C9969-2B89-4524-BE36-FB9C3134755A}" destId="{DB2A0FEE-4A2F-4ABD-81C2-2AA176EAFB27}" srcOrd="0" destOrd="0" presId="urn:microsoft.com/office/officeart/2018/2/layout/IconCircleList"/>
    <dgm:cxn modelId="{6ED7D1AE-5514-4A03-824D-E5FF5A1336F4}" type="presParOf" srcId="{DB2A0FEE-4A2F-4ABD-81C2-2AA176EAFB27}" destId="{37221233-998D-4110-8739-75818E317F2B}" srcOrd="0" destOrd="0" presId="urn:microsoft.com/office/officeart/2018/2/layout/IconCircleList"/>
    <dgm:cxn modelId="{D483E96D-BCB0-4081-BB23-66895601C384}" type="presParOf" srcId="{37221233-998D-4110-8739-75818E317F2B}" destId="{26F78212-9B81-497F-A19F-C8C6FFD52934}" srcOrd="0" destOrd="0" presId="urn:microsoft.com/office/officeart/2018/2/layout/IconCircleList"/>
    <dgm:cxn modelId="{5A76555B-C4B2-4A70-9856-EF8BF64BDF1E}" type="presParOf" srcId="{37221233-998D-4110-8739-75818E317F2B}" destId="{ECAA08C8-A712-4C90-9611-F6153111DDCF}" srcOrd="1" destOrd="0" presId="urn:microsoft.com/office/officeart/2018/2/layout/IconCircleList"/>
    <dgm:cxn modelId="{143915BA-335C-4111-BA68-A9C8ECEE3A2F}" type="presParOf" srcId="{37221233-998D-4110-8739-75818E317F2B}" destId="{9701079C-284B-478B-A8EC-16345800C964}" srcOrd="2" destOrd="0" presId="urn:microsoft.com/office/officeart/2018/2/layout/IconCircleList"/>
    <dgm:cxn modelId="{BB1421F9-0AE3-4A54-8098-45D4D30AA574}" type="presParOf" srcId="{37221233-998D-4110-8739-75818E317F2B}" destId="{697F905B-5EB3-4CA3-9CE6-3864EBD1C570}" srcOrd="3" destOrd="0" presId="urn:microsoft.com/office/officeart/2018/2/layout/IconCircleList"/>
    <dgm:cxn modelId="{1DC59589-FFF1-43DB-910D-D2F1745DCA39}" type="presParOf" srcId="{DB2A0FEE-4A2F-4ABD-81C2-2AA176EAFB27}" destId="{61A947C6-BABC-4857-A2D4-8A5B16291523}" srcOrd="1" destOrd="0" presId="urn:microsoft.com/office/officeart/2018/2/layout/IconCircleList"/>
    <dgm:cxn modelId="{1AB16403-006F-4010-8F7D-260DEC828D09}" type="presParOf" srcId="{DB2A0FEE-4A2F-4ABD-81C2-2AA176EAFB27}" destId="{7FD86318-8969-44AA-B09E-F582F8E9E142}" srcOrd="2" destOrd="0" presId="urn:microsoft.com/office/officeart/2018/2/layout/IconCircleList"/>
    <dgm:cxn modelId="{0BF2A203-4164-4A84-AC66-C585B69B4967}" type="presParOf" srcId="{7FD86318-8969-44AA-B09E-F582F8E9E142}" destId="{3BAA17C3-3D6A-410F-A346-9BF93D7F0F25}" srcOrd="0" destOrd="0" presId="urn:microsoft.com/office/officeart/2018/2/layout/IconCircleList"/>
    <dgm:cxn modelId="{EC4F5F63-F291-4024-AECD-B0C97A3FBE73}" type="presParOf" srcId="{7FD86318-8969-44AA-B09E-F582F8E9E142}" destId="{542DD7A2-E66F-4A85-BA4C-BFE36904AE90}" srcOrd="1" destOrd="0" presId="urn:microsoft.com/office/officeart/2018/2/layout/IconCircleList"/>
    <dgm:cxn modelId="{D2EA2AE3-6844-429B-A9D4-119C6D6B9854}" type="presParOf" srcId="{7FD86318-8969-44AA-B09E-F582F8E9E142}" destId="{28BC242C-13B5-44E5-A51B-E1EE75F91749}" srcOrd="2" destOrd="0" presId="urn:microsoft.com/office/officeart/2018/2/layout/IconCircleList"/>
    <dgm:cxn modelId="{D797D4AD-11DC-44CC-9D89-9F3B10F1539B}" type="presParOf" srcId="{7FD86318-8969-44AA-B09E-F582F8E9E142}" destId="{E71E3E7B-990C-4E7E-95F5-FF1AD775C6CD}" srcOrd="3" destOrd="0" presId="urn:microsoft.com/office/officeart/2018/2/layout/IconCircleList"/>
    <dgm:cxn modelId="{3A795C81-2B60-44BF-991E-525D01757AA5}" type="presParOf" srcId="{DB2A0FEE-4A2F-4ABD-81C2-2AA176EAFB27}" destId="{8596881D-B196-4B6D-9930-6A60E60799C8}" srcOrd="3" destOrd="0" presId="urn:microsoft.com/office/officeart/2018/2/layout/IconCircleList"/>
    <dgm:cxn modelId="{7990F183-4ED5-4AFF-95CF-CF5D5C93D172}" type="presParOf" srcId="{DB2A0FEE-4A2F-4ABD-81C2-2AA176EAFB27}" destId="{7EA327BB-1982-4818-B3C9-2784F6B99E5C}" srcOrd="4" destOrd="0" presId="urn:microsoft.com/office/officeart/2018/2/layout/IconCircleList"/>
    <dgm:cxn modelId="{FA4CA5DA-1426-455C-B998-6D6BB8987D03}" type="presParOf" srcId="{7EA327BB-1982-4818-B3C9-2784F6B99E5C}" destId="{EFD2B2FA-B76A-449A-99DC-245E75D7DFBC}" srcOrd="0" destOrd="0" presId="urn:microsoft.com/office/officeart/2018/2/layout/IconCircleList"/>
    <dgm:cxn modelId="{641BFAA7-5AAF-4180-8923-3745E05F0CDF}" type="presParOf" srcId="{7EA327BB-1982-4818-B3C9-2784F6B99E5C}" destId="{DE1C91EB-69C3-49B2-8A3D-C092571A24A3}" srcOrd="1" destOrd="0" presId="urn:microsoft.com/office/officeart/2018/2/layout/IconCircleList"/>
    <dgm:cxn modelId="{8EE1081E-DD0B-4E9C-99AA-EBA5AB723EAA}" type="presParOf" srcId="{7EA327BB-1982-4818-B3C9-2784F6B99E5C}" destId="{0D4605E8-A74C-4D25-A5DC-794453F81FED}" srcOrd="2" destOrd="0" presId="urn:microsoft.com/office/officeart/2018/2/layout/IconCircleList"/>
    <dgm:cxn modelId="{C79BC210-FA7A-4F40-B23C-16D95E2B72B3}" type="presParOf" srcId="{7EA327BB-1982-4818-B3C9-2784F6B99E5C}" destId="{2EFE3F85-DC39-4CA4-8D14-A993FD598678}" srcOrd="3" destOrd="0" presId="urn:microsoft.com/office/officeart/2018/2/layout/IconCircleList"/>
    <dgm:cxn modelId="{014B215F-FBC2-4D80-9615-643A600736AD}" type="presParOf" srcId="{DB2A0FEE-4A2F-4ABD-81C2-2AA176EAFB27}" destId="{FC072E6E-F546-4A81-A2D3-07D985339B9A}" srcOrd="5" destOrd="0" presId="urn:microsoft.com/office/officeart/2018/2/layout/IconCircleList"/>
    <dgm:cxn modelId="{8157F1A3-8F2F-4E1E-9407-0A0F5A1EBD0C}" type="presParOf" srcId="{DB2A0FEE-4A2F-4ABD-81C2-2AA176EAFB27}" destId="{6E6CFC63-DC86-4893-AED5-1EC534CDF0DD}" srcOrd="6" destOrd="0" presId="urn:microsoft.com/office/officeart/2018/2/layout/IconCircleList"/>
    <dgm:cxn modelId="{A9C58C15-D350-436D-8212-65BE77B59E55}" type="presParOf" srcId="{6E6CFC63-DC86-4893-AED5-1EC534CDF0DD}" destId="{8F9D341B-5457-4EE1-A952-F276599EDACE}" srcOrd="0" destOrd="0" presId="urn:microsoft.com/office/officeart/2018/2/layout/IconCircleList"/>
    <dgm:cxn modelId="{C1235D59-4AD0-4FC6-987E-EF9E175773BA}" type="presParOf" srcId="{6E6CFC63-DC86-4893-AED5-1EC534CDF0DD}" destId="{F4ADFB1D-D9FC-45A5-BAF1-004838B18054}" srcOrd="1" destOrd="0" presId="urn:microsoft.com/office/officeart/2018/2/layout/IconCircleList"/>
    <dgm:cxn modelId="{4B4C4A23-569F-4DB6-8883-4788A0448A53}" type="presParOf" srcId="{6E6CFC63-DC86-4893-AED5-1EC534CDF0DD}" destId="{6A2D2935-250A-4BB9-B0BF-EC5DB6909A68}" srcOrd="2" destOrd="0" presId="urn:microsoft.com/office/officeart/2018/2/layout/IconCircleList"/>
    <dgm:cxn modelId="{4ED4F8C4-C20F-4C95-AEFD-CAABD520638C}" type="presParOf" srcId="{6E6CFC63-DC86-4893-AED5-1EC534CDF0DD}" destId="{048ACB16-AC9D-4705-A192-78698616193B}" srcOrd="3" destOrd="0" presId="urn:microsoft.com/office/officeart/2018/2/layout/IconCircle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6DFC28B-046E-46BF-ABEF-813E86E38D93}" type="doc">
      <dgm:prSet loTypeId="urn:microsoft.com/office/officeart/2018/2/layout/IconCircleList" loCatId="icon" qsTypeId="urn:microsoft.com/office/officeart/2005/8/quickstyle/simple5" qsCatId="simple" csTypeId="urn:microsoft.com/office/officeart/2005/8/colors/accent5_2" csCatId="accent5" phldr="1"/>
      <dgm:spPr/>
      <dgm:t>
        <a:bodyPr/>
        <a:lstStyle/>
        <a:p>
          <a:endParaRPr lang="en-US"/>
        </a:p>
      </dgm:t>
    </dgm:pt>
    <dgm:pt modelId="{70DD53F9-E13C-4D35-A6D3-63E0BE56E3F8}">
      <dgm:prSet custT="1"/>
      <dgm:spPr/>
      <dgm:t>
        <a:bodyPr/>
        <a:lstStyle/>
        <a:p>
          <a:pPr>
            <a:lnSpc>
              <a:spcPct val="100000"/>
            </a:lnSpc>
          </a:pPr>
          <a:r>
            <a:rPr lang="en-US" sz="2000" dirty="0"/>
            <a:t>All data in PowerShell is represented as an </a:t>
          </a:r>
          <a:r>
            <a:rPr lang="en-US" sz="2000" b="1" dirty="0"/>
            <a:t>OBJECT</a:t>
          </a:r>
          <a:r>
            <a:rPr lang="en-US" sz="2000" dirty="0"/>
            <a:t> </a:t>
          </a:r>
        </a:p>
      </dgm:t>
    </dgm:pt>
    <dgm:pt modelId="{3540727E-1C51-4826-BB14-E2FB2B7D71F5}" type="parTrans" cxnId="{F64D8383-B5B2-4540-8CA0-96E9CC562F04}">
      <dgm:prSet/>
      <dgm:spPr/>
      <dgm:t>
        <a:bodyPr/>
        <a:lstStyle/>
        <a:p>
          <a:endParaRPr lang="en-US"/>
        </a:p>
      </dgm:t>
    </dgm:pt>
    <dgm:pt modelId="{1D0E8DD2-BFA7-4349-969E-7B5B47D637E4}" type="sibTrans" cxnId="{F64D8383-B5B2-4540-8CA0-96E9CC562F04}">
      <dgm:prSet/>
      <dgm:spPr/>
      <dgm:t>
        <a:bodyPr/>
        <a:lstStyle/>
        <a:p>
          <a:pPr>
            <a:lnSpc>
              <a:spcPct val="100000"/>
            </a:lnSpc>
          </a:pPr>
          <a:endParaRPr lang="en-US"/>
        </a:p>
      </dgm:t>
    </dgm:pt>
    <dgm:pt modelId="{03B16827-082D-4749-8111-C7199FF0377B}">
      <dgm:prSet custT="1"/>
      <dgm:spPr/>
      <dgm:t>
        <a:bodyPr/>
        <a:lstStyle/>
        <a:p>
          <a:pPr>
            <a:lnSpc>
              <a:spcPct val="100000"/>
            </a:lnSpc>
          </a:pPr>
          <a:r>
            <a:rPr lang="en-US" sz="2000" dirty="0"/>
            <a:t>The Object consist of information (</a:t>
          </a:r>
          <a:r>
            <a:rPr lang="en-US" sz="2000" b="1" dirty="0"/>
            <a:t>PROPERTIES</a:t>
          </a:r>
          <a:r>
            <a:rPr lang="en-US" sz="2000" dirty="0"/>
            <a:t>) and actions (</a:t>
          </a:r>
          <a:r>
            <a:rPr lang="en-US" sz="2000" b="1" dirty="0"/>
            <a:t>METHODS</a:t>
          </a:r>
          <a:r>
            <a:rPr lang="en-US" sz="2000" dirty="0"/>
            <a:t>)</a:t>
          </a:r>
        </a:p>
      </dgm:t>
    </dgm:pt>
    <dgm:pt modelId="{C7DF3ABF-DF3E-4B8A-B0CA-DF9B58F53619}" type="parTrans" cxnId="{1E94B5A0-DEB3-4FA8-A2BC-8508AB9EBDEF}">
      <dgm:prSet/>
      <dgm:spPr/>
      <dgm:t>
        <a:bodyPr/>
        <a:lstStyle/>
        <a:p>
          <a:endParaRPr lang="en-US"/>
        </a:p>
      </dgm:t>
    </dgm:pt>
    <dgm:pt modelId="{720A401A-6192-4112-BFA7-361624AA4266}" type="sibTrans" cxnId="{1E94B5A0-DEB3-4FA8-A2BC-8508AB9EBDEF}">
      <dgm:prSet/>
      <dgm:spPr/>
      <dgm:t>
        <a:bodyPr/>
        <a:lstStyle/>
        <a:p>
          <a:pPr>
            <a:lnSpc>
              <a:spcPct val="100000"/>
            </a:lnSpc>
          </a:pPr>
          <a:endParaRPr lang="en-US"/>
        </a:p>
      </dgm:t>
    </dgm:pt>
    <dgm:pt modelId="{179D54B8-4A2C-488B-A397-DB1551943F9E}">
      <dgm:prSet custT="1"/>
      <dgm:spPr/>
      <dgm:t>
        <a:bodyPr/>
        <a:lstStyle/>
        <a:p>
          <a:pPr>
            <a:lnSpc>
              <a:spcPct val="100000"/>
            </a:lnSpc>
          </a:pPr>
          <a:r>
            <a:rPr lang="en-US" sz="2000"/>
            <a:t>PROPERTIES and METHODS are known as </a:t>
          </a:r>
          <a:r>
            <a:rPr lang="en-US" sz="2000" b="1"/>
            <a:t>MEMBERS</a:t>
          </a:r>
          <a:endParaRPr lang="en-US" sz="2000" b="1" dirty="0"/>
        </a:p>
      </dgm:t>
    </dgm:pt>
    <dgm:pt modelId="{EBE4D751-4465-4AEF-8442-F2A3E0B33A9F}" type="parTrans" cxnId="{0FBA33A4-FBC8-4EE1-B551-A830A4DD4B6D}">
      <dgm:prSet/>
      <dgm:spPr/>
      <dgm:t>
        <a:bodyPr/>
        <a:lstStyle/>
        <a:p>
          <a:endParaRPr lang="en-US"/>
        </a:p>
      </dgm:t>
    </dgm:pt>
    <dgm:pt modelId="{9DEA76BF-DC62-43AE-983F-7323C2127866}" type="sibTrans" cxnId="{0FBA33A4-FBC8-4EE1-B551-A830A4DD4B6D}">
      <dgm:prSet/>
      <dgm:spPr/>
      <dgm:t>
        <a:bodyPr/>
        <a:lstStyle/>
        <a:p>
          <a:pPr>
            <a:lnSpc>
              <a:spcPct val="100000"/>
            </a:lnSpc>
          </a:pPr>
          <a:endParaRPr lang="en-US"/>
        </a:p>
      </dgm:t>
    </dgm:pt>
    <dgm:pt modelId="{05E7AF2F-5253-4B51-92E6-D7056EC893D0}">
      <dgm:prSet/>
      <dgm:spPr/>
      <dgm:t>
        <a:bodyPr/>
        <a:lstStyle/>
        <a:p>
          <a:endParaRPr lang="en-US"/>
        </a:p>
      </dgm:t>
    </dgm:pt>
    <dgm:pt modelId="{6CCB014F-072D-4D54-BED7-E25E906FF0E6}" type="parTrans" cxnId="{A6DA1739-11C3-408E-A97D-2D13B569D0BA}">
      <dgm:prSet/>
      <dgm:spPr/>
      <dgm:t>
        <a:bodyPr/>
        <a:lstStyle/>
        <a:p>
          <a:endParaRPr lang="en-US"/>
        </a:p>
      </dgm:t>
    </dgm:pt>
    <dgm:pt modelId="{8B9D578E-42B6-45A5-A880-F7501C67B84C}" type="sibTrans" cxnId="{A6DA1739-11C3-408E-A97D-2D13B569D0BA}">
      <dgm:prSet/>
      <dgm:spPr/>
      <dgm:t>
        <a:bodyPr/>
        <a:lstStyle/>
        <a:p>
          <a:endParaRPr lang="en-US"/>
        </a:p>
      </dgm:t>
    </dgm:pt>
    <dgm:pt modelId="{E2EEE00A-BD1E-4AE5-B3A0-9AF21DBEC66C}">
      <dgm:prSet custT="1"/>
      <dgm:spPr/>
      <dgm:t>
        <a:bodyPr/>
        <a:lstStyle/>
        <a:p>
          <a:pPr>
            <a:lnSpc>
              <a:spcPct val="100000"/>
            </a:lnSpc>
          </a:pPr>
          <a:r>
            <a:rPr lang="en-AU" sz="2000" dirty="0"/>
            <a:t>A </a:t>
          </a:r>
          <a:r>
            <a:rPr lang="en-AU" sz="2000" b="1" dirty="0"/>
            <a:t>TYPE</a:t>
          </a:r>
          <a:r>
            <a:rPr lang="en-AU" sz="2000" dirty="0"/>
            <a:t> represents the template of available MEMBERS</a:t>
          </a:r>
          <a:endParaRPr lang="en-US" sz="2000" dirty="0"/>
        </a:p>
      </dgm:t>
    </dgm:pt>
    <dgm:pt modelId="{E1AF1599-2B16-43B1-82C3-2D7942C58D5F}" type="parTrans" cxnId="{6032ECBF-8EC5-4E99-BFD3-5A75B6316E08}">
      <dgm:prSet/>
      <dgm:spPr/>
      <dgm:t>
        <a:bodyPr/>
        <a:lstStyle/>
        <a:p>
          <a:endParaRPr lang="en-US"/>
        </a:p>
      </dgm:t>
    </dgm:pt>
    <dgm:pt modelId="{3384DA5D-88AD-47A7-93BD-F86CCE300136}" type="sibTrans" cxnId="{6032ECBF-8EC5-4E99-BFD3-5A75B6316E08}">
      <dgm:prSet/>
      <dgm:spPr/>
      <dgm:t>
        <a:bodyPr/>
        <a:lstStyle/>
        <a:p>
          <a:pPr>
            <a:lnSpc>
              <a:spcPct val="100000"/>
            </a:lnSpc>
          </a:pPr>
          <a:endParaRPr lang="en-US"/>
        </a:p>
      </dgm:t>
    </dgm:pt>
    <dgm:pt modelId="{C000D372-7707-48AA-BA29-369BFFD2B91A}">
      <dgm:prSet custT="1"/>
      <dgm:spPr/>
      <dgm:t>
        <a:bodyPr/>
        <a:lstStyle/>
        <a:p>
          <a:pPr>
            <a:lnSpc>
              <a:spcPct val="100000"/>
            </a:lnSpc>
          </a:pPr>
          <a:r>
            <a:rPr lang="en-US" sz="2000" dirty="0"/>
            <a:t>A specific object is an </a:t>
          </a:r>
          <a:r>
            <a:rPr lang="en-US" sz="2000" b="1" dirty="0"/>
            <a:t>INSTANCE</a:t>
          </a:r>
          <a:r>
            <a:rPr lang="en-US" sz="2000" dirty="0"/>
            <a:t> of a TYPE</a:t>
          </a:r>
        </a:p>
      </dgm:t>
    </dgm:pt>
    <dgm:pt modelId="{D51E51BF-1F76-4A03-8A5C-8FE64951309F}" type="parTrans" cxnId="{29D4DEA4-05A6-4048-96BA-DC71064A18EC}">
      <dgm:prSet/>
      <dgm:spPr/>
      <dgm:t>
        <a:bodyPr/>
        <a:lstStyle/>
        <a:p>
          <a:endParaRPr lang="en-US"/>
        </a:p>
      </dgm:t>
    </dgm:pt>
    <dgm:pt modelId="{D55AA789-6BFF-481D-AE11-3A14085F516C}" type="sibTrans" cxnId="{29D4DEA4-05A6-4048-96BA-DC71064A18EC}">
      <dgm:prSet/>
      <dgm:spPr/>
      <dgm:t>
        <a:bodyPr/>
        <a:lstStyle/>
        <a:p>
          <a:endParaRPr lang="en-US"/>
        </a:p>
      </dgm:t>
    </dgm:pt>
    <dgm:pt modelId="{D47C9969-2B89-4524-BE36-FB9C3134755A}" type="pres">
      <dgm:prSet presAssocID="{16DFC28B-046E-46BF-ABEF-813E86E38D93}" presName="root" presStyleCnt="0">
        <dgm:presLayoutVars>
          <dgm:dir/>
          <dgm:resizeHandles val="exact"/>
        </dgm:presLayoutVars>
      </dgm:prSet>
      <dgm:spPr/>
    </dgm:pt>
    <dgm:pt modelId="{DB2A0FEE-4A2F-4ABD-81C2-2AA176EAFB27}" type="pres">
      <dgm:prSet presAssocID="{16DFC28B-046E-46BF-ABEF-813E86E38D93}" presName="container" presStyleCnt="0">
        <dgm:presLayoutVars>
          <dgm:dir/>
          <dgm:resizeHandles val="exact"/>
        </dgm:presLayoutVars>
      </dgm:prSet>
      <dgm:spPr/>
    </dgm:pt>
    <dgm:pt modelId="{FB4F9F86-7442-4503-9940-9CC5645B3EDE}" type="pres">
      <dgm:prSet presAssocID="{70DD53F9-E13C-4D35-A6D3-63E0BE56E3F8}" presName="compNode" presStyleCnt="0"/>
      <dgm:spPr/>
    </dgm:pt>
    <dgm:pt modelId="{4E2C4039-B602-4BE5-BDF6-0B3B285F7135}" type="pres">
      <dgm:prSet presAssocID="{70DD53F9-E13C-4D35-A6D3-63E0BE56E3F8}" presName="iconBgRect" presStyleLbl="bgShp" presStyleIdx="0" presStyleCnt="5"/>
      <dgm:spPr/>
    </dgm:pt>
    <dgm:pt modelId="{E2DA3664-EA11-435C-BBE5-B2E03086AB8C}" type="pres">
      <dgm:prSet presAssocID="{70DD53F9-E13C-4D35-A6D3-63E0BE56E3F8}"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Cube"/>
        </a:ext>
      </dgm:extLst>
    </dgm:pt>
    <dgm:pt modelId="{BA504BFE-15B9-4408-9809-85BF153CC4EE}" type="pres">
      <dgm:prSet presAssocID="{70DD53F9-E13C-4D35-A6D3-63E0BE56E3F8}" presName="spaceRect" presStyleCnt="0"/>
      <dgm:spPr/>
    </dgm:pt>
    <dgm:pt modelId="{442FC817-1717-4972-AFA9-F929DF638388}" type="pres">
      <dgm:prSet presAssocID="{70DD53F9-E13C-4D35-A6D3-63E0BE56E3F8}" presName="textRect" presStyleLbl="revTx" presStyleIdx="0" presStyleCnt="5">
        <dgm:presLayoutVars>
          <dgm:chMax val="1"/>
          <dgm:chPref val="1"/>
        </dgm:presLayoutVars>
      </dgm:prSet>
      <dgm:spPr/>
    </dgm:pt>
    <dgm:pt modelId="{1F0FA385-690D-4CE4-9BD1-211C40F8E1CD}" type="pres">
      <dgm:prSet presAssocID="{1D0E8DD2-BFA7-4349-969E-7B5B47D637E4}" presName="sibTrans" presStyleLbl="sibTrans2D1" presStyleIdx="0" presStyleCnt="0"/>
      <dgm:spPr/>
    </dgm:pt>
    <dgm:pt modelId="{0E0F2871-5C47-4B56-9B42-6DCDDB182F76}" type="pres">
      <dgm:prSet presAssocID="{03B16827-082D-4749-8111-C7199FF0377B}" presName="compNode" presStyleCnt="0"/>
      <dgm:spPr/>
    </dgm:pt>
    <dgm:pt modelId="{BD4E1F2A-ECFB-461B-B6B5-8B94CD32F7D0}" type="pres">
      <dgm:prSet presAssocID="{03B16827-082D-4749-8111-C7199FF0377B}" presName="iconBgRect" presStyleLbl="bgShp" presStyleIdx="1" presStyleCnt="5"/>
      <dgm:spPr/>
    </dgm:pt>
    <dgm:pt modelId="{BE066715-E87C-44B1-9D59-50B972118A9F}" type="pres">
      <dgm:prSet presAssocID="{03B16827-082D-4749-8111-C7199FF0377B}" presName="iconRect" presStyleLbl="node1" presStyleIdx="1" presStyleCnt="5"/>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Puzzle pieces"/>
        </a:ext>
      </dgm:extLst>
    </dgm:pt>
    <dgm:pt modelId="{A676E3F0-66C6-4C14-B8E7-2CF8C5BA7464}" type="pres">
      <dgm:prSet presAssocID="{03B16827-082D-4749-8111-C7199FF0377B}" presName="spaceRect" presStyleCnt="0"/>
      <dgm:spPr/>
    </dgm:pt>
    <dgm:pt modelId="{4A6A63B3-89DC-4E11-A893-3A67D1471435}" type="pres">
      <dgm:prSet presAssocID="{03B16827-082D-4749-8111-C7199FF0377B}" presName="textRect" presStyleLbl="revTx" presStyleIdx="1" presStyleCnt="5">
        <dgm:presLayoutVars>
          <dgm:chMax val="1"/>
          <dgm:chPref val="1"/>
        </dgm:presLayoutVars>
      </dgm:prSet>
      <dgm:spPr/>
    </dgm:pt>
    <dgm:pt modelId="{0BB50F63-8AEE-4841-A762-AE08311B4894}" type="pres">
      <dgm:prSet presAssocID="{720A401A-6192-4112-BFA7-361624AA4266}" presName="sibTrans" presStyleLbl="sibTrans2D1" presStyleIdx="0" presStyleCnt="0"/>
      <dgm:spPr/>
    </dgm:pt>
    <dgm:pt modelId="{6C15D890-BB3C-41BE-B8F4-AD53EBE5A749}" type="pres">
      <dgm:prSet presAssocID="{179D54B8-4A2C-488B-A397-DB1551943F9E}" presName="compNode" presStyleCnt="0"/>
      <dgm:spPr/>
    </dgm:pt>
    <dgm:pt modelId="{ED0764C8-B46B-4EED-A451-617D46566D35}" type="pres">
      <dgm:prSet presAssocID="{179D54B8-4A2C-488B-A397-DB1551943F9E}" presName="iconBgRect" presStyleLbl="bgShp" presStyleIdx="2" presStyleCnt="5"/>
      <dgm:spPr/>
    </dgm:pt>
    <dgm:pt modelId="{E6A80BE7-3F88-41E0-B5A1-EEF6F90E594C}" type="pres">
      <dgm:prSet presAssocID="{179D54B8-4A2C-488B-A397-DB1551943F9E}"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Network"/>
        </a:ext>
      </dgm:extLst>
    </dgm:pt>
    <dgm:pt modelId="{8F1BAE7D-3E85-400A-B8B5-3322C8815C24}" type="pres">
      <dgm:prSet presAssocID="{179D54B8-4A2C-488B-A397-DB1551943F9E}" presName="spaceRect" presStyleCnt="0"/>
      <dgm:spPr/>
    </dgm:pt>
    <dgm:pt modelId="{980D28E2-055D-4EE2-A18E-6E520F144183}" type="pres">
      <dgm:prSet presAssocID="{179D54B8-4A2C-488B-A397-DB1551943F9E}" presName="textRect" presStyleLbl="revTx" presStyleIdx="2" presStyleCnt="5">
        <dgm:presLayoutVars>
          <dgm:chMax val="1"/>
          <dgm:chPref val="1"/>
        </dgm:presLayoutVars>
      </dgm:prSet>
      <dgm:spPr/>
    </dgm:pt>
    <dgm:pt modelId="{71372073-23C9-4DD0-B85B-A05E5328512A}" type="pres">
      <dgm:prSet presAssocID="{9DEA76BF-DC62-43AE-983F-7323C2127866}" presName="sibTrans" presStyleLbl="sibTrans2D1" presStyleIdx="0" presStyleCnt="0"/>
      <dgm:spPr/>
    </dgm:pt>
    <dgm:pt modelId="{8187441D-5549-41D3-A157-DB3D1924B12D}" type="pres">
      <dgm:prSet presAssocID="{E2EEE00A-BD1E-4AE5-B3A0-9AF21DBEC66C}" presName="compNode" presStyleCnt="0"/>
      <dgm:spPr/>
    </dgm:pt>
    <dgm:pt modelId="{D296DF6C-5870-4EFD-81B3-E51C4DD9979A}" type="pres">
      <dgm:prSet presAssocID="{E2EEE00A-BD1E-4AE5-B3A0-9AF21DBEC66C}" presName="iconBgRect" presStyleLbl="bgShp" presStyleIdx="3" presStyleCnt="5"/>
      <dgm:spPr/>
    </dgm:pt>
    <dgm:pt modelId="{4AD7AC10-4CB0-4AE4-B91C-436EECFECBBB}" type="pres">
      <dgm:prSet presAssocID="{E2EEE00A-BD1E-4AE5-B3A0-9AF21DBEC66C}"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List"/>
        </a:ext>
      </dgm:extLst>
    </dgm:pt>
    <dgm:pt modelId="{D0255765-483C-4D98-8274-75E5FEF24EC7}" type="pres">
      <dgm:prSet presAssocID="{E2EEE00A-BD1E-4AE5-B3A0-9AF21DBEC66C}" presName="spaceRect" presStyleCnt="0"/>
      <dgm:spPr/>
    </dgm:pt>
    <dgm:pt modelId="{E832A960-553F-43CD-A4A1-097B1C07F6C9}" type="pres">
      <dgm:prSet presAssocID="{E2EEE00A-BD1E-4AE5-B3A0-9AF21DBEC66C}" presName="textRect" presStyleLbl="revTx" presStyleIdx="3" presStyleCnt="5">
        <dgm:presLayoutVars>
          <dgm:chMax val="1"/>
          <dgm:chPref val="1"/>
        </dgm:presLayoutVars>
      </dgm:prSet>
      <dgm:spPr/>
    </dgm:pt>
    <dgm:pt modelId="{E580D5A7-0354-49FD-86A5-CE880C09529E}" type="pres">
      <dgm:prSet presAssocID="{3384DA5D-88AD-47A7-93BD-F86CCE300136}" presName="sibTrans" presStyleLbl="sibTrans2D1" presStyleIdx="0" presStyleCnt="0"/>
      <dgm:spPr/>
    </dgm:pt>
    <dgm:pt modelId="{E9C5B654-98B7-4485-8950-B6216039FCE6}" type="pres">
      <dgm:prSet presAssocID="{C000D372-7707-48AA-BA29-369BFFD2B91A}" presName="compNode" presStyleCnt="0"/>
      <dgm:spPr/>
    </dgm:pt>
    <dgm:pt modelId="{218C1EF1-F15A-4C1E-873D-3FF63B4DA0A5}" type="pres">
      <dgm:prSet presAssocID="{C000D372-7707-48AA-BA29-369BFFD2B91A}" presName="iconBgRect" presStyleLbl="bgShp" presStyleIdx="4" presStyleCnt="5"/>
      <dgm:spPr/>
    </dgm:pt>
    <dgm:pt modelId="{44C67849-16DB-4538-B03F-5C2F13051A84}" type="pres">
      <dgm:prSet presAssocID="{C000D372-7707-48AA-BA29-369BFFD2B91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Document"/>
        </a:ext>
      </dgm:extLst>
    </dgm:pt>
    <dgm:pt modelId="{B5756FB0-F293-4372-B32F-B456CC4660C7}" type="pres">
      <dgm:prSet presAssocID="{C000D372-7707-48AA-BA29-369BFFD2B91A}" presName="spaceRect" presStyleCnt="0"/>
      <dgm:spPr/>
    </dgm:pt>
    <dgm:pt modelId="{EC4BD0B8-C73C-4F83-8143-9BE5E6A42D80}" type="pres">
      <dgm:prSet presAssocID="{C000D372-7707-48AA-BA29-369BFFD2B91A}" presName="textRect" presStyleLbl="revTx" presStyleIdx="4" presStyleCnt="5">
        <dgm:presLayoutVars>
          <dgm:chMax val="1"/>
          <dgm:chPref val="1"/>
        </dgm:presLayoutVars>
      </dgm:prSet>
      <dgm:spPr/>
    </dgm:pt>
  </dgm:ptLst>
  <dgm:cxnLst>
    <dgm:cxn modelId="{85DCA505-824B-4542-ADEE-74E6DACDAF20}" type="presOf" srcId="{9DEA76BF-DC62-43AE-983F-7323C2127866}" destId="{71372073-23C9-4DD0-B85B-A05E5328512A}" srcOrd="0" destOrd="0" presId="urn:microsoft.com/office/officeart/2018/2/layout/IconCircleList"/>
    <dgm:cxn modelId="{2BF3BF10-4806-43B5-8A07-899167D1ABD9}" type="presOf" srcId="{03B16827-082D-4749-8111-C7199FF0377B}" destId="{4A6A63B3-89DC-4E11-A893-3A67D1471435}" srcOrd="0" destOrd="0" presId="urn:microsoft.com/office/officeart/2018/2/layout/IconCircleList"/>
    <dgm:cxn modelId="{FE3FB217-1FF4-4772-B038-B4B1ABDB7AF7}" type="presOf" srcId="{16DFC28B-046E-46BF-ABEF-813E86E38D93}" destId="{D47C9969-2B89-4524-BE36-FB9C3134755A}" srcOrd="0" destOrd="0" presId="urn:microsoft.com/office/officeart/2018/2/layout/IconCircleList"/>
    <dgm:cxn modelId="{A6DA1739-11C3-408E-A97D-2D13B569D0BA}" srcId="{179D54B8-4A2C-488B-A397-DB1551943F9E}" destId="{05E7AF2F-5253-4B51-92E6-D7056EC893D0}" srcOrd="0" destOrd="0" parTransId="{6CCB014F-072D-4D54-BED7-E25E906FF0E6}" sibTransId="{8B9D578E-42B6-45A5-A880-F7501C67B84C}"/>
    <dgm:cxn modelId="{1073315B-683C-47EA-B19D-404DD4E0D717}" type="presOf" srcId="{3384DA5D-88AD-47A7-93BD-F86CCE300136}" destId="{E580D5A7-0354-49FD-86A5-CE880C09529E}" srcOrd="0" destOrd="0" presId="urn:microsoft.com/office/officeart/2018/2/layout/IconCircleList"/>
    <dgm:cxn modelId="{0A0D1862-C99E-452D-A349-ABFE7C61495C}" type="presOf" srcId="{70DD53F9-E13C-4D35-A6D3-63E0BE56E3F8}" destId="{442FC817-1717-4972-AFA9-F929DF638388}" srcOrd="0" destOrd="0" presId="urn:microsoft.com/office/officeart/2018/2/layout/IconCircleList"/>
    <dgm:cxn modelId="{6136D17B-0D2B-4C63-AAC5-302023E45848}" type="presOf" srcId="{179D54B8-4A2C-488B-A397-DB1551943F9E}" destId="{980D28E2-055D-4EE2-A18E-6E520F144183}" srcOrd="0" destOrd="0" presId="urn:microsoft.com/office/officeart/2018/2/layout/IconCircleList"/>
    <dgm:cxn modelId="{F64D8383-B5B2-4540-8CA0-96E9CC562F04}" srcId="{16DFC28B-046E-46BF-ABEF-813E86E38D93}" destId="{70DD53F9-E13C-4D35-A6D3-63E0BE56E3F8}" srcOrd="0" destOrd="0" parTransId="{3540727E-1C51-4826-BB14-E2FB2B7D71F5}" sibTransId="{1D0E8DD2-BFA7-4349-969E-7B5B47D637E4}"/>
    <dgm:cxn modelId="{DDE01792-7D61-4241-BBCF-DAD46FC57A6A}" type="presOf" srcId="{C000D372-7707-48AA-BA29-369BFFD2B91A}" destId="{EC4BD0B8-C73C-4F83-8143-9BE5E6A42D80}" srcOrd="0" destOrd="0" presId="urn:microsoft.com/office/officeart/2018/2/layout/IconCircleList"/>
    <dgm:cxn modelId="{94126A99-F046-4D28-B102-6071DA9EEB36}" type="presOf" srcId="{1D0E8DD2-BFA7-4349-969E-7B5B47D637E4}" destId="{1F0FA385-690D-4CE4-9BD1-211C40F8E1CD}" srcOrd="0" destOrd="0" presId="urn:microsoft.com/office/officeart/2018/2/layout/IconCircleList"/>
    <dgm:cxn modelId="{1E94B5A0-DEB3-4FA8-A2BC-8508AB9EBDEF}" srcId="{16DFC28B-046E-46BF-ABEF-813E86E38D93}" destId="{03B16827-082D-4749-8111-C7199FF0377B}" srcOrd="1" destOrd="0" parTransId="{C7DF3ABF-DF3E-4B8A-B0CA-DF9B58F53619}" sibTransId="{720A401A-6192-4112-BFA7-361624AA4266}"/>
    <dgm:cxn modelId="{0FBA33A4-FBC8-4EE1-B551-A830A4DD4B6D}" srcId="{16DFC28B-046E-46BF-ABEF-813E86E38D93}" destId="{179D54B8-4A2C-488B-A397-DB1551943F9E}" srcOrd="2" destOrd="0" parTransId="{EBE4D751-4465-4AEF-8442-F2A3E0B33A9F}" sibTransId="{9DEA76BF-DC62-43AE-983F-7323C2127866}"/>
    <dgm:cxn modelId="{29D4DEA4-05A6-4048-96BA-DC71064A18EC}" srcId="{16DFC28B-046E-46BF-ABEF-813E86E38D93}" destId="{C000D372-7707-48AA-BA29-369BFFD2B91A}" srcOrd="4" destOrd="0" parTransId="{D51E51BF-1F76-4A03-8A5C-8FE64951309F}" sibTransId="{D55AA789-6BFF-481D-AE11-3A14085F516C}"/>
    <dgm:cxn modelId="{6032ECBF-8EC5-4E99-BFD3-5A75B6316E08}" srcId="{16DFC28B-046E-46BF-ABEF-813E86E38D93}" destId="{E2EEE00A-BD1E-4AE5-B3A0-9AF21DBEC66C}" srcOrd="3" destOrd="0" parTransId="{E1AF1599-2B16-43B1-82C3-2D7942C58D5F}" sibTransId="{3384DA5D-88AD-47A7-93BD-F86CCE300136}"/>
    <dgm:cxn modelId="{995056C0-C295-4584-83C7-E3A283D7CA45}" type="presOf" srcId="{720A401A-6192-4112-BFA7-361624AA4266}" destId="{0BB50F63-8AEE-4841-A762-AE08311B4894}" srcOrd="0" destOrd="0" presId="urn:microsoft.com/office/officeart/2018/2/layout/IconCircleList"/>
    <dgm:cxn modelId="{7FED4DDE-AC9C-4D33-9003-C15D4C4BB9FA}" type="presOf" srcId="{E2EEE00A-BD1E-4AE5-B3A0-9AF21DBEC66C}" destId="{E832A960-553F-43CD-A4A1-097B1C07F6C9}" srcOrd="0" destOrd="0" presId="urn:microsoft.com/office/officeart/2018/2/layout/IconCircleList"/>
    <dgm:cxn modelId="{8B4964F5-F4F0-422C-BC81-98BDE4A39F90}" type="presParOf" srcId="{D47C9969-2B89-4524-BE36-FB9C3134755A}" destId="{DB2A0FEE-4A2F-4ABD-81C2-2AA176EAFB27}" srcOrd="0" destOrd="0" presId="urn:microsoft.com/office/officeart/2018/2/layout/IconCircleList"/>
    <dgm:cxn modelId="{A9BA4612-359C-4AF2-9322-D9037CA225DC}" type="presParOf" srcId="{DB2A0FEE-4A2F-4ABD-81C2-2AA176EAFB27}" destId="{FB4F9F86-7442-4503-9940-9CC5645B3EDE}" srcOrd="0" destOrd="0" presId="urn:microsoft.com/office/officeart/2018/2/layout/IconCircleList"/>
    <dgm:cxn modelId="{CB0E6A74-CE93-4DEB-93F2-C1483A5D2A73}" type="presParOf" srcId="{FB4F9F86-7442-4503-9940-9CC5645B3EDE}" destId="{4E2C4039-B602-4BE5-BDF6-0B3B285F7135}" srcOrd="0" destOrd="0" presId="urn:microsoft.com/office/officeart/2018/2/layout/IconCircleList"/>
    <dgm:cxn modelId="{6A793A92-A374-473A-AEAD-F8AF10799EC1}" type="presParOf" srcId="{FB4F9F86-7442-4503-9940-9CC5645B3EDE}" destId="{E2DA3664-EA11-435C-BBE5-B2E03086AB8C}" srcOrd="1" destOrd="0" presId="urn:microsoft.com/office/officeart/2018/2/layout/IconCircleList"/>
    <dgm:cxn modelId="{8F984C35-721E-4170-83BE-6A4C1B30CC81}" type="presParOf" srcId="{FB4F9F86-7442-4503-9940-9CC5645B3EDE}" destId="{BA504BFE-15B9-4408-9809-85BF153CC4EE}" srcOrd="2" destOrd="0" presId="urn:microsoft.com/office/officeart/2018/2/layout/IconCircleList"/>
    <dgm:cxn modelId="{E7812D9A-1812-4C16-8BA5-25EB010201ED}" type="presParOf" srcId="{FB4F9F86-7442-4503-9940-9CC5645B3EDE}" destId="{442FC817-1717-4972-AFA9-F929DF638388}" srcOrd="3" destOrd="0" presId="urn:microsoft.com/office/officeart/2018/2/layout/IconCircleList"/>
    <dgm:cxn modelId="{FF1E2C2B-F8E3-47C5-A481-DA101FDC0F2D}" type="presParOf" srcId="{DB2A0FEE-4A2F-4ABD-81C2-2AA176EAFB27}" destId="{1F0FA385-690D-4CE4-9BD1-211C40F8E1CD}" srcOrd="1" destOrd="0" presId="urn:microsoft.com/office/officeart/2018/2/layout/IconCircleList"/>
    <dgm:cxn modelId="{C93DB62E-BECE-4806-AC89-7C9042FEB60F}" type="presParOf" srcId="{DB2A0FEE-4A2F-4ABD-81C2-2AA176EAFB27}" destId="{0E0F2871-5C47-4B56-9B42-6DCDDB182F76}" srcOrd="2" destOrd="0" presId="urn:microsoft.com/office/officeart/2018/2/layout/IconCircleList"/>
    <dgm:cxn modelId="{D69984CE-092F-43DB-B321-69E888BBA0E1}" type="presParOf" srcId="{0E0F2871-5C47-4B56-9B42-6DCDDB182F76}" destId="{BD4E1F2A-ECFB-461B-B6B5-8B94CD32F7D0}" srcOrd="0" destOrd="0" presId="urn:microsoft.com/office/officeart/2018/2/layout/IconCircleList"/>
    <dgm:cxn modelId="{32E4FA5D-09CA-42FE-A7F0-00FC92D5BBD7}" type="presParOf" srcId="{0E0F2871-5C47-4B56-9B42-6DCDDB182F76}" destId="{BE066715-E87C-44B1-9D59-50B972118A9F}" srcOrd="1" destOrd="0" presId="urn:microsoft.com/office/officeart/2018/2/layout/IconCircleList"/>
    <dgm:cxn modelId="{3D727FD4-9739-4DC0-87CC-33EF4F5EF4D2}" type="presParOf" srcId="{0E0F2871-5C47-4B56-9B42-6DCDDB182F76}" destId="{A676E3F0-66C6-4C14-B8E7-2CF8C5BA7464}" srcOrd="2" destOrd="0" presId="urn:microsoft.com/office/officeart/2018/2/layout/IconCircleList"/>
    <dgm:cxn modelId="{44B1E3F8-54BE-400F-88BB-8B15E8F477FC}" type="presParOf" srcId="{0E0F2871-5C47-4B56-9B42-6DCDDB182F76}" destId="{4A6A63B3-89DC-4E11-A893-3A67D1471435}" srcOrd="3" destOrd="0" presId="urn:microsoft.com/office/officeart/2018/2/layout/IconCircleList"/>
    <dgm:cxn modelId="{D72DC5AF-6187-400D-9A89-3B05FD75E85A}" type="presParOf" srcId="{DB2A0FEE-4A2F-4ABD-81C2-2AA176EAFB27}" destId="{0BB50F63-8AEE-4841-A762-AE08311B4894}" srcOrd="3" destOrd="0" presId="urn:microsoft.com/office/officeart/2018/2/layout/IconCircleList"/>
    <dgm:cxn modelId="{E9D05DDA-9689-46BD-83F2-5ED1A7990B0E}" type="presParOf" srcId="{DB2A0FEE-4A2F-4ABD-81C2-2AA176EAFB27}" destId="{6C15D890-BB3C-41BE-B8F4-AD53EBE5A749}" srcOrd="4" destOrd="0" presId="urn:microsoft.com/office/officeart/2018/2/layout/IconCircleList"/>
    <dgm:cxn modelId="{9DFFF5E3-F43D-48A7-BF17-8F9DD2FF0064}" type="presParOf" srcId="{6C15D890-BB3C-41BE-B8F4-AD53EBE5A749}" destId="{ED0764C8-B46B-4EED-A451-617D46566D35}" srcOrd="0" destOrd="0" presId="urn:microsoft.com/office/officeart/2018/2/layout/IconCircleList"/>
    <dgm:cxn modelId="{11CE7B13-3FFB-49DB-BAD2-4F2A25E34CE4}" type="presParOf" srcId="{6C15D890-BB3C-41BE-B8F4-AD53EBE5A749}" destId="{E6A80BE7-3F88-41E0-B5A1-EEF6F90E594C}" srcOrd="1" destOrd="0" presId="urn:microsoft.com/office/officeart/2018/2/layout/IconCircleList"/>
    <dgm:cxn modelId="{3BC4F8D7-74C8-4463-B321-19B3099DC183}" type="presParOf" srcId="{6C15D890-BB3C-41BE-B8F4-AD53EBE5A749}" destId="{8F1BAE7D-3E85-400A-B8B5-3322C8815C24}" srcOrd="2" destOrd="0" presId="urn:microsoft.com/office/officeart/2018/2/layout/IconCircleList"/>
    <dgm:cxn modelId="{03B1823B-B007-4573-98F2-A1AF8196BF75}" type="presParOf" srcId="{6C15D890-BB3C-41BE-B8F4-AD53EBE5A749}" destId="{980D28E2-055D-4EE2-A18E-6E520F144183}" srcOrd="3" destOrd="0" presId="urn:microsoft.com/office/officeart/2018/2/layout/IconCircleList"/>
    <dgm:cxn modelId="{E14C50F0-1A75-4AA7-AC54-4E55A32817B0}" type="presParOf" srcId="{DB2A0FEE-4A2F-4ABD-81C2-2AA176EAFB27}" destId="{71372073-23C9-4DD0-B85B-A05E5328512A}" srcOrd="5" destOrd="0" presId="urn:microsoft.com/office/officeart/2018/2/layout/IconCircleList"/>
    <dgm:cxn modelId="{1CC8DCC0-41F0-4B12-839A-B0491481C64B}" type="presParOf" srcId="{DB2A0FEE-4A2F-4ABD-81C2-2AA176EAFB27}" destId="{8187441D-5549-41D3-A157-DB3D1924B12D}" srcOrd="6" destOrd="0" presId="urn:microsoft.com/office/officeart/2018/2/layout/IconCircleList"/>
    <dgm:cxn modelId="{7B5DFBF9-7A08-45A0-8643-4024E89AF327}" type="presParOf" srcId="{8187441D-5549-41D3-A157-DB3D1924B12D}" destId="{D296DF6C-5870-4EFD-81B3-E51C4DD9979A}" srcOrd="0" destOrd="0" presId="urn:microsoft.com/office/officeart/2018/2/layout/IconCircleList"/>
    <dgm:cxn modelId="{62DF9102-BF80-4F73-A54D-0CE448972945}" type="presParOf" srcId="{8187441D-5549-41D3-A157-DB3D1924B12D}" destId="{4AD7AC10-4CB0-4AE4-B91C-436EECFECBBB}" srcOrd="1" destOrd="0" presId="urn:microsoft.com/office/officeart/2018/2/layout/IconCircleList"/>
    <dgm:cxn modelId="{08021169-F2E7-4A30-A841-762EE1C3071F}" type="presParOf" srcId="{8187441D-5549-41D3-A157-DB3D1924B12D}" destId="{D0255765-483C-4D98-8274-75E5FEF24EC7}" srcOrd="2" destOrd="0" presId="urn:microsoft.com/office/officeart/2018/2/layout/IconCircleList"/>
    <dgm:cxn modelId="{51669003-652C-4B93-963E-CF7606F1AC0C}" type="presParOf" srcId="{8187441D-5549-41D3-A157-DB3D1924B12D}" destId="{E832A960-553F-43CD-A4A1-097B1C07F6C9}" srcOrd="3" destOrd="0" presId="urn:microsoft.com/office/officeart/2018/2/layout/IconCircleList"/>
    <dgm:cxn modelId="{EE451CF6-2954-4902-A437-30CDE96F9B07}" type="presParOf" srcId="{DB2A0FEE-4A2F-4ABD-81C2-2AA176EAFB27}" destId="{E580D5A7-0354-49FD-86A5-CE880C09529E}" srcOrd="7" destOrd="0" presId="urn:microsoft.com/office/officeart/2018/2/layout/IconCircleList"/>
    <dgm:cxn modelId="{5498990E-B91E-4376-A50F-A10986C95F7E}" type="presParOf" srcId="{DB2A0FEE-4A2F-4ABD-81C2-2AA176EAFB27}" destId="{E9C5B654-98B7-4485-8950-B6216039FCE6}" srcOrd="8" destOrd="0" presId="urn:microsoft.com/office/officeart/2018/2/layout/IconCircleList"/>
    <dgm:cxn modelId="{1AE22C93-623F-4DD0-927E-EDC2B083F6E8}" type="presParOf" srcId="{E9C5B654-98B7-4485-8950-B6216039FCE6}" destId="{218C1EF1-F15A-4C1E-873D-3FF63B4DA0A5}" srcOrd="0" destOrd="0" presId="urn:microsoft.com/office/officeart/2018/2/layout/IconCircleList"/>
    <dgm:cxn modelId="{809B3310-2B58-4CD6-8B1A-F2F65DDD83A8}" type="presParOf" srcId="{E9C5B654-98B7-4485-8950-B6216039FCE6}" destId="{44C67849-16DB-4538-B03F-5C2F13051A84}" srcOrd="1" destOrd="0" presId="urn:microsoft.com/office/officeart/2018/2/layout/IconCircleList"/>
    <dgm:cxn modelId="{DA8BFAA2-53E2-4256-8E07-5878877FC654}" type="presParOf" srcId="{E9C5B654-98B7-4485-8950-B6216039FCE6}" destId="{B5756FB0-F293-4372-B32F-B456CC4660C7}" srcOrd="2" destOrd="0" presId="urn:microsoft.com/office/officeart/2018/2/layout/IconCircleList"/>
    <dgm:cxn modelId="{EAECEAAC-A03B-4BA6-BCDE-6FE5159B424F}" type="presParOf" srcId="{E9C5B654-98B7-4485-8950-B6216039FCE6}" destId="{EC4BD0B8-C73C-4F83-8143-9BE5E6A42D80}" srcOrd="3" destOrd="0" presId="urn:microsoft.com/office/officeart/2018/2/layout/IconCircle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2DC932E-D9B7-4E75-A469-A9A958156D49}"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4249F560-CEF5-455E-B742-2DA644713141}">
      <dgm:prSet custT="1"/>
      <dgm:spPr>
        <a:solidFill>
          <a:schemeClr val="accent3">
            <a:lumMod val="50000"/>
          </a:schemeClr>
        </a:solidFill>
      </dgm:spPr>
      <dgm:t>
        <a:bodyPr/>
        <a:lstStyle/>
        <a:p>
          <a:r>
            <a:rPr lang="en-US" sz="2400" baseline="0" dirty="0"/>
            <a:t>Type casting </a:t>
          </a:r>
          <a:endParaRPr lang="en-US" sz="2400" dirty="0"/>
        </a:p>
      </dgm:t>
    </dgm:pt>
    <dgm:pt modelId="{986B0423-7BAC-4F99-BABE-657B908614BF}" type="parTrans" cxnId="{7EB3570B-56F7-47ED-99EE-8CB5C66FF0CE}">
      <dgm:prSet/>
      <dgm:spPr/>
      <dgm:t>
        <a:bodyPr/>
        <a:lstStyle/>
        <a:p>
          <a:endParaRPr lang="en-US" sz="2000"/>
        </a:p>
      </dgm:t>
    </dgm:pt>
    <dgm:pt modelId="{5450214D-ACCA-4AE3-8F56-E72FCEE5606A}" type="sibTrans" cxnId="{7EB3570B-56F7-47ED-99EE-8CB5C66FF0CE}">
      <dgm:prSet/>
      <dgm:spPr/>
      <dgm:t>
        <a:bodyPr/>
        <a:lstStyle/>
        <a:p>
          <a:endParaRPr lang="en-US" sz="2000"/>
        </a:p>
      </dgm:t>
    </dgm:pt>
    <dgm:pt modelId="{202AC69F-8FA9-454C-BB82-CE338D3398A1}">
      <dgm:prSet custT="1"/>
      <dgm:spPr/>
      <dgm:t>
        <a:bodyPr/>
        <a:lstStyle/>
        <a:p>
          <a:r>
            <a:rPr lang="en-US" sz="2400" baseline="0" dirty="0"/>
            <a:t>Convert a </a:t>
          </a:r>
          <a:r>
            <a:rPr lang="en-US" sz="2400" b="1" baseline="0" dirty="0"/>
            <a:t>single value </a:t>
          </a:r>
          <a:r>
            <a:rPr lang="en-US" sz="2400" baseline="0" dirty="0"/>
            <a:t>to a specific type</a:t>
          </a:r>
          <a:endParaRPr lang="en-US" sz="2400" dirty="0"/>
        </a:p>
      </dgm:t>
    </dgm:pt>
    <dgm:pt modelId="{10F9728E-4124-4E8B-9A75-04B631C59F55}" type="parTrans" cxnId="{6D8B2B69-8A9B-45D6-B2FD-923A3AD1C9D2}">
      <dgm:prSet/>
      <dgm:spPr/>
      <dgm:t>
        <a:bodyPr/>
        <a:lstStyle/>
        <a:p>
          <a:endParaRPr lang="en-US" sz="2000"/>
        </a:p>
      </dgm:t>
    </dgm:pt>
    <dgm:pt modelId="{893CB6FF-D6DC-4727-8124-74C90ED6F584}" type="sibTrans" cxnId="{6D8B2B69-8A9B-45D6-B2FD-923A3AD1C9D2}">
      <dgm:prSet/>
      <dgm:spPr/>
      <dgm:t>
        <a:bodyPr/>
        <a:lstStyle/>
        <a:p>
          <a:endParaRPr lang="en-US" sz="2000"/>
        </a:p>
      </dgm:t>
    </dgm:pt>
    <dgm:pt modelId="{2ED51B67-8943-40BB-B957-0417881326B6}">
      <dgm:prSet custT="1"/>
      <dgm:spPr>
        <a:solidFill>
          <a:schemeClr val="accent4">
            <a:lumMod val="75000"/>
          </a:schemeClr>
        </a:solidFill>
      </dgm:spPr>
      <dgm:t>
        <a:bodyPr/>
        <a:lstStyle/>
        <a:p>
          <a:r>
            <a:rPr lang="en-US" sz="2400" baseline="0" dirty="0"/>
            <a:t>Static members </a:t>
          </a:r>
          <a:endParaRPr lang="en-US" sz="2400" dirty="0"/>
        </a:p>
      </dgm:t>
    </dgm:pt>
    <dgm:pt modelId="{07797A0B-AEE0-4360-8D5F-71FFE961C333}" type="parTrans" cxnId="{2005E0DE-1597-4595-9438-25F4F93AB225}">
      <dgm:prSet/>
      <dgm:spPr/>
      <dgm:t>
        <a:bodyPr/>
        <a:lstStyle/>
        <a:p>
          <a:endParaRPr lang="en-US" sz="2000"/>
        </a:p>
      </dgm:t>
    </dgm:pt>
    <dgm:pt modelId="{4DE96ADE-0C38-4D0C-89CA-07ABE1BAB62D}" type="sibTrans" cxnId="{2005E0DE-1597-4595-9438-25F4F93AB225}">
      <dgm:prSet/>
      <dgm:spPr/>
      <dgm:t>
        <a:bodyPr/>
        <a:lstStyle/>
        <a:p>
          <a:endParaRPr lang="en-US" sz="2000"/>
        </a:p>
      </dgm:t>
    </dgm:pt>
    <dgm:pt modelId="{326C9593-F8DE-4AA8-902B-3E6F6944CB5C}">
      <dgm:prSet custT="1"/>
      <dgm:spPr/>
      <dgm:t>
        <a:bodyPr/>
        <a:lstStyle/>
        <a:p>
          <a:r>
            <a:rPr lang="en-US" sz="2400" b="1" baseline="0" dirty="0"/>
            <a:t>Access members </a:t>
          </a:r>
          <a:r>
            <a:rPr lang="en-US" sz="2400" baseline="0" dirty="0"/>
            <a:t>that live on the type itself, not the instances of data</a:t>
          </a:r>
          <a:endParaRPr lang="en-US" sz="2400" dirty="0"/>
        </a:p>
      </dgm:t>
    </dgm:pt>
    <dgm:pt modelId="{41B35848-184A-45C7-A309-61FE159DE670}" type="parTrans" cxnId="{805CBB2A-179C-4603-B9A8-F640DFD3FD04}">
      <dgm:prSet/>
      <dgm:spPr/>
      <dgm:t>
        <a:bodyPr/>
        <a:lstStyle/>
        <a:p>
          <a:endParaRPr lang="en-US" sz="2000"/>
        </a:p>
      </dgm:t>
    </dgm:pt>
    <dgm:pt modelId="{74412896-75C7-436A-B0D2-817AFBB270DD}" type="sibTrans" cxnId="{805CBB2A-179C-4603-B9A8-F640DFD3FD04}">
      <dgm:prSet/>
      <dgm:spPr/>
      <dgm:t>
        <a:bodyPr/>
        <a:lstStyle/>
        <a:p>
          <a:endParaRPr lang="en-US" sz="2000"/>
        </a:p>
      </dgm:t>
    </dgm:pt>
    <dgm:pt modelId="{2F66CF49-6BA4-418D-B537-5BB3D5EDB003}">
      <dgm:prSet custT="1"/>
      <dgm:spPr>
        <a:solidFill>
          <a:schemeClr val="accent5">
            <a:lumMod val="50000"/>
          </a:schemeClr>
        </a:solidFill>
      </dgm:spPr>
      <dgm:t>
        <a:bodyPr/>
        <a:lstStyle/>
        <a:p>
          <a:r>
            <a:rPr lang="en-US" sz="2400" baseline="0" dirty="0"/>
            <a:t>Strong typing</a:t>
          </a:r>
          <a:endParaRPr lang="en-US" sz="2400" dirty="0"/>
        </a:p>
      </dgm:t>
    </dgm:pt>
    <dgm:pt modelId="{34869E6A-F4F5-4E19-AA5D-2EF50CC54176}" type="parTrans" cxnId="{C6CF8B72-2FAD-4E22-AE32-3CAE49DBCC28}">
      <dgm:prSet/>
      <dgm:spPr/>
      <dgm:t>
        <a:bodyPr/>
        <a:lstStyle/>
        <a:p>
          <a:endParaRPr lang="en-US"/>
        </a:p>
      </dgm:t>
    </dgm:pt>
    <dgm:pt modelId="{5F78FC9B-3354-4FF8-B751-61D5D6B94030}" type="sibTrans" cxnId="{C6CF8B72-2FAD-4E22-AE32-3CAE49DBCC28}">
      <dgm:prSet/>
      <dgm:spPr/>
      <dgm:t>
        <a:bodyPr/>
        <a:lstStyle/>
        <a:p>
          <a:endParaRPr lang="en-US"/>
        </a:p>
      </dgm:t>
    </dgm:pt>
    <dgm:pt modelId="{9FE92F0F-D12E-4452-8798-89CA769B0A8B}">
      <dgm:prSet custT="1"/>
      <dgm:spPr/>
      <dgm:t>
        <a:bodyPr/>
        <a:lstStyle/>
        <a:p>
          <a:r>
            <a:rPr lang="en-US" sz="2400" baseline="0" dirty="0"/>
            <a:t>Force a </a:t>
          </a:r>
          <a:r>
            <a:rPr lang="en-US" sz="2400" b="1" baseline="0" dirty="0"/>
            <a:t>variable</a:t>
          </a:r>
          <a:r>
            <a:rPr lang="en-US" sz="2400" baseline="0" dirty="0"/>
            <a:t> to only accept a specific type </a:t>
          </a:r>
          <a:endParaRPr lang="en-US" sz="2400" dirty="0"/>
        </a:p>
      </dgm:t>
    </dgm:pt>
    <dgm:pt modelId="{35C5BAEC-F755-4B5E-80DA-DEF1E19368D9}" type="parTrans" cxnId="{8B0C0746-33FB-4012-8EB9-7822D0F332CE}">
      <dgm:prSet/>
      <dgm:spPr/>
      <dgm:t>
        <a:bodyPr/>
        <a:lstStyle/>
        <a:p>
          <a:endParaRPr lang="en-US"/>
        </a:p>
      </dgm:t>
    </dgm:pt>
    <dgm:pt modelId="{50E5A479-6A3A-4041-B25E-9701174040D7}" type="sibTrans" cxnId="{8B0C0746-33FB-4012-8EB9-7822D0F332CE}">
      <dgm:prSet/>
      <dgm:spPr/>
      <dgm:t>
        <a:bodyPr/>
        <a:lstStyle/>
        <a:p>
          <a:endParaRPr lang="en-US"/>
        </a:p>
      </dgm:t>
    </dgm:pt>
    <dgm:pt modelId="{FA3A0A91-1093-499B-A8C5-998DC1089BA8}" type="pres">
      <dgm:prSet presAssocID="{42DC932E-D9B7-4E75-A469-A9A958156D49}" presName="linear" presStyleCnt="0">
        <dgm:presLayoutVars>
          <dgm:animLvl val="lvl"/>
          <dgm:resizeHandles val="exact"/>
        </dgm:presLayoutVars>
      </dgm:prSet>
      <dgm:spPr/>
    </dgm:pt>
    <dgm:pt modelId="{21558DC7-AE8D-46CF-9270-F29369537A15}" type="pres">
      <dgm:prSet presAssocID="{4249F560-CEF5-455E-B742-2DA644713141}" presName="parentText" presStyleLbl="node1" presStyleIdx="0" presStyleCnt="3" custScaleY="41212">
        <dgm:presLayoutVars>
          <dgm:chMax val="0"/>
          <dgm:bulletEnabled val="1"/>
        </dgm:presLayoutVars>
      </dgm:prSet>
      <dgm:spPr/>
    </dgm:pt>
    <dgm:pt modelId="{4D7C6979-FB87-4ECB-96F6-FB7F06723A22}" type="pres">
      <dgm:prSet presAssocID="{4249F560-CEF5-455E-B742-2DA644713141}" presName="childText" presStyleLbl="revTx" presStyleIdx="0" presStyleCnt="3">
        <dgm:presLayoutVars>
          <dgm:bulletEnabled val="1"/>
        </dgm:presLayoutVars>
      </dgm:prSet>
      <dgm:spPr/>
    </dgm:pt>
    <dgm:pt modelId="{97FDAA8F-571E-4153-91B9-3535B510C571}" type="pres">
      <dgm:prSet presAssocID="{2ED51B67-8943-40BB-B957-0417881326B6}" presName="parentText" presStyleLbl="node1" presStyleIdx="1" presStyleCnt="3" custScaleY="41212">
        <dgm:presLayoutVars>
          <dgm:chMax val="0"/>
          <dgm:bulletEnabled val="1"/>
        </dgm:presLayoutVars>
      </dgm:prSet>
      <dgm:spPr/>
    </dgm:pt>
    <dgm:pt modelId="{AFF48081-F02B-4874-815A-E873AF392849}" type="pres">
      <dgm:prSet presAssocID="{2ED51B67-8943-40BB-B957-0417881326B6}" presName="childText" presStyleLbl="revTx" presStyleIdx="1" presStyleCnt="3">
        <dgm:presLayoutVars>
          <dgm:bulletEnabled val="1"/>
        </dgm:presLayoutVars>
      </dgm:prSet>
      <dgm:spPr/>
    </dgm:pt>
    <dgm:pt modelId="{F5D4A476-261C-4FE7-8369-62E557853C47}" type="pres">
      <dgm:prSet presAssocID="{2F66CF49-6BA4-418D-B537-5BB3D5EDB003}" presName="parentText" presStyleLbl="node1" presStyleIdx="2" presStyleCnt="3" custScaleY="41212">
        <dgm:presLayoutVars>
          <dgm:chMax val="0"/>
          <dgm:bulletEnabled val="1"/>
        </dgm:presLayoutVars>
      </dgm:prSet>
      <dgm:spPr/>
    </dgm:pt>
    <dgm:pt modelId="{0683EDC0-3EF7-4329-8878-1DB4589BC378}" type="pres">
      <dgm:prSet presAssocID="{2F66CF49-6BA4-418D-B537-5BB3D5EDB003}" presName="childText" presStyleLbl="revTx" presStyleIdx="2" presStyleCnt="3">
        <dgm:presLayoutVars>
          <dgm:bulletEnabled val="1"/>
        </dgm:presLayoutVars>
      </dgm:prSet>
      <dgm:spPr/>
    </dgm:pt>
  </dgm:ptLst>
  <dgm:cxnLst>
    <dgm:cxn modelId="{E5DCEE0A-35D2-4C11-AD5D-1279AA649BA7}" type="presOf" srcId="{326C9593-F8DE-4AA8-902B-3E6F6944CB5C}" destId="{AFF48081-F02B-4874-815A-E873AF392849}" srcOrd="0" destOrd="0" presId="urn:microsoft.com/office/officeart/2005/8/layout/vList2"/>
    <dgm:cxn modelId="{7EB3570B-56F7-47ED-99EE-8CB5C66FF0CE}" srcId="{42DC932E-D9B7-4E75-A469-A9A958156D49}" destId="{4249F560-CEF5-455E-B742-2DA644713141}" srcOrd="0" destOrd="0" parTransId="{986B0423-7BAC-4F99-BABE-657B908614BF}" sibTransId="{5450214D-ACCA-4AE3-8F56-E72FCEE5606A}"/>
    <dgm:cxn modelId="{805CBB2A-179C-4603-B9A8-F640DFD3FD04}" srcId="{2ED51B67-8943-40BB-B957-0417881326B6}" destId="{326C9593-F8DE-4AA8-902B-3E6F6944CB5C}" srcOrd="0" destOrd="0" parTransId="{41B35848-184A-45C7-A309-61FE159DE670}" sibTransId="{74412896-75C7-436A-B0D2-817AFBB270DD}"/>
    <dgm:cxn modelId="{8B0C0746-33FB-4012-8EB9-7822D0F332CE}" srcId="{2F66CF49-6BA4-418D-B537-5BB3D5EDB003}" destId="{9FE92F0F-D12E-4452-8798-89CA769B0A8B}" srcOrd="0" destOrd="0" parTransId="{35C5BAEC-F755-4B5E-80DA-DEF1E19368D9}" sibTransId="{50E5A479-6A3A-4041-B25E-9701174040D7}"/>
    <dgm:cxn modelId="{6D8B2B69-8A9B-45D6-B2FD-923A3AD1C9D2}" srcId="{4249F560-CEF5-455E-B742-2DA644713141}" destId="{202AC69F-8FA9-454C-BB82-CE338D3398A1}" srcOrd="0" destOrd="0" parTransId="{10F9728E-4124-4E8B-9A75-04B631C59F55}" sibTransId="{893CB6FF-D6DC-4727-8124-74C90ED6F584}"/>
    <dgm:cxn modelId="{D16BF74A-5C3F-42C7-BA96-540636E52554}" type="presOf" srcId="{2F66CF49-6BA4-418D-B537-5BB3D5EDB003}" destId="{F5D4A476-261C-4FE7-8369-62E557853C47}" srcOrd="0" destOrd="0" presId="urn:microsoft.com/office/officeart/2005/8/layout/vList2"/>
    <dgm:cxn modelId="{8F1ACB4B-56B6-40C0-BB32-E61854F64104}" type="presOf" srcId="{42DC932E-D9B7-4E75-A469-A9A958156D49}" destId="{FA3A0A91-1093-499B-A8C5-998DC1089BA8}" srcOrd="0" destOrd="0" presId="urn:microsoft.com/office/officeart/2005/8/layout/vList2"/>
    <dgm:cxn modelId="{C6CF8B72-2FAD-4E22-AE32-3CAE49DBCC28}" srcId="{42DC932E-D9B7-4E75-A469-A9A958156D49}" destId="{2F66CF49-6BA4-418D-B537-5BB3D5EDB003}" srcOrd="2" destOrd="0" parTransId="{34869E6A-F4F5-4E19-AA5D-2EF50CC54176}" sibTransId="{5F78FC9B-3354-4FF8-B751-61D5D6B94030}"/>
    <dgm:cxn modelId="{A500EE75-4A3E-4A2D-8D0D-292346B4ED1A}" type="presOf" srcId="{9FE92F0F-D12E-4452-8798-89CA769B0A8B}" destId="{0683EDC0-3EF7-4329-8878-1DB4589BC378}" srcOrd="0" destOrd="0" presId="urn:microsoft.com/office/officeart/2005/8/layout/vList2"/>
    <dgm:cxn modelId="{7E90CC83-EC56-4360-B436-04E38A1E0657}" type="presOf" srcId="{4249F560-CEF5-455E-B742-2DA644713141}" destId="{21558DC7-AE8D-46CF-9270-F29369537A15}" srcOrd="0" destOrd="0" presId="urn:microsoft.com/office/officeart/2005/8/layout/vList2"/>
    <dgm:cxn modelId="{2AF8B7CC-1895-4A0A-A1D8-7DA4DF6B4A94}" type="presOf" srcId="{2ED51B67-8943-40BB-B957-0417881326B6}" destId="{97FDAA8F-571E-4153-91B9-3535B510C571}" srcOrd="0" destOrd="0" presId="urn:microsoft.com/office/officeart/2005/8/layout/vList2"/>
    <dgm:cxn modelId="{2005E0DE-1597-4595-9438-25F4F93AB225}" srcId="{42DC932E-D9B7-4E75-A469-A9A958156D49}" destId="{2ED51B67-8943-40BB-B957-0417881326B6}" srcOrd="1" destOrd="0" parTransId="{07797A0B-AEE0-4360-8D5F-71FFE961C333}" sibTransId="{4DE96ADE-0C38-4D0C-89CA-07ABE1BAB62D}"/>
    <dgm:cxn modelId="{0094E9F1-FF40-4CBF-9154-7BAE9763E51F}" type="presOf" srcId="{202AC69F-8FA9-454C-BB82-CE338D3398A1}" destId="{4D7C6979-FB87-4ECB-96F6-FB7F06723A22}" srcOrd="0" destOrd="0" presId="urn:microsoft.com/office/officeart/2005/8/layout/vList2"/>
    <dgm:cxn modelId="{2E670858-3B15-49CB-8D20-87BF5F61790D}" type="presParOf" srcId="{FA3A0A91-1093-499B-A8C5-998DC1089BA8}" destId="{21558DC7-AE8D-46CF-9270-F29369537A15}" srcOrd="0" destOrd="0" presId="urn:microsoft.com/office/officeart/2005/8/layout/vList2"/>
    <dgm:cxn modelId="{A5FF4AF4-5F17-45FB-B3A3-316963A93F97}" type="presParOf" srcId="{FA3A0A91-1093-499B-A8C5-998DC1089BA8}" destId="{4D7C6979-FB87-4ECB-96F6-FB7F06723A22}" srcOrd="1" destOrd="0" presId="urn:microsoft.com/office/officeart/2005/8/layout/vList2"/>
    <dgm:cxn modelId="{578FA3DD-F247-4B44-AC4A-379BA6A923EB}" type="presParOf" srcId="{FA3A0A91-1093-499B-A8C5-998DC1089BA8}" destId="{97FDAA8F-571E-4153-91B9-3535B510C571}" srcOrd="2" destOrd="0" presId="urn:microsoft.com/office/officeart/2005/8/layout/vList2"/>
    <dgm:cxn modelId="{139A0227-CB1E-4195-A15F-E5F5C92D747A}" type="presParOf" srcId="{FA3A0A91-1093-499B-A8C5-998DC1089BA8}" destId="{AFF48081-F02B-4874-815A-E873AF392849}" srcOrd="3" destOrd="0" presId="urn:microsoft.com/office/officeart/2005/8/layout/vList2"/>
    <dgm:cxn modelId="{466C8C50-8BF1-468E-B5B9-182E8A5EF608}" type="presParOf" srcId="{FA3A0A91-1093-499B-A8C5-998DC1089BA8}" destId="{F5D4A476-261C-4FE7-8369-62E557853C47}" srcOrd="4" destOrd="0" presId="urn:microsoft.com/office/officeart/2005/8/layout/vList2"/>
    <dgm:cxn modelId="{C1AE0164-E6DE-4A35-BA47-3B9B11489B5D}" type="presParOf" srcId="{FA3A0A91-1093-499B-A8C5-998DC1089BA8}" destId="{0683EDC0-3EF7-4329-8878-1DB4589BC378}"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2DC932E-D9B7-4E75-A469-A9A958156D49}" type="doc">
      <dgm:prSet loTypeId="urn:microsoft.com/office/officeart/2008/layout/VerticalCurvedList" loCatId="list" qsTypeId="urn:microsoft.com/office/officeart/2005/8/quickstyle/simple1" qsCatId="simple" csTypeId="urn:microsoft.com/office/officeart/2005/8/colors/accent2_2" csCatId="accent2" phldr="1"/>
      <dgm:spPr/>
      <dgm:t>
        <a:bodyPr/>
        <a:lstStyle/>
        <a:p>
          <a:endParaRPr lang="en-US"/>
        </a:p>
      </dgm:t>
    </dgm:pt>
    <dgm:pt modelId="{4249F560-CEF5-455E-B742-2DA644713141}">
      <dgm:prSet custT="1"/>
      <dgm:spPr/>
      <dgm:t>
        <a:bodyPr/>
        <a:lstStyle/>
        <a:p>
          <a:r>
            <a:rPr lang="en-US" sz="2400" b="1" baseline="0" dirty="0"/>
            <a:t>Collection</a:t>
          </a:r>
          <a:r>
            <a:rPr lang="en-US" sz="2400" baseline="0" dirty="0"/>
            <a:t> of data</a:t>
          </a:r>
          <a:endParaRPr lang="en-US" sz="2400" dirty="0"/>
        </a:p>
      </dgm:t>
    </dgm:pt>
    <dgm:pt modelId="{986B0423-7BAC-4F99-BABE-657B908614BF}" type="parTrans" cxnId="{7EB3570B-56F7-47ED-99EE-8CB5C66FF0CE}">
      <dgm:prSet/>
      <dgm:spPr/>
      <dgm:t>
        <a:bodyPr/>
        <a:lstStyle/>
        <a:p>
          <a:endParaRPr lang="en-US" sz="2000"/>
        </a:p>
      </dgm:t>
    </dgm:pt>
    <dgm:pt modelId="{5450214D-ACCA-4AE3-8F56-E72FCEE5606A}" type="sibTrans" cxnId="{7EB3570B-56F7-47ED-99EE-8CB5C66FF0CE}">
      <dgm:prSet/>
      <dgm:spPr/>
      <dgm:t>
        <a:bodyPr/>
        <a:lstStyle/>
        <a:p>
          <a:endParaRPr lang="en-US" sz="2000"/>
        </a:p>
      </dgm:t>
    </dgm:pt>
    <dgm:pt modelId="{2ED51B67-8943-40BB-B957-0417881326B6}">
      <dgm:prSet custT="1"/>
      <dgm:spPr/>
      <dgm:t>
        <a:bodyPr/>
        <a:lstStyle/>
        <a:p>
          <a:r>
            <a:rPr lang="en-US" sz="2400" baseline="0" dirty="0"/>
            <a:t>Create by </a:t>
          </a:r>
          <a:r>
            <a:rPr lang="en-US" sz="2400" b="1" baseline="0" dirty="0"/>
            <a:t>comma separating values</a:t>
          </a:r>
          <a:r>
            <a:rPr lang="en-US" sz="2400" baseline="0" dirty="0"/>
            <a:t> or with </a:t>
          </a:r>
          <a:r>
            <a:rPr lang="en-US" sz="2400" b="1" baseline="0" dirty="0"/>
            <a:t>@()</a:t>
          </a:r>
          <a:endParaRPr lang="en-US" sz="2400" b="1" dirty="0"/>
        </a:p>
      </dgm:t>
    </dgm:pt>
    <dgm:pt modelId="{07797A0B-AEE0-4360-8D5F-71FFE961C333}" type="parTrans" cxnId="{2005E0DE-1597-4595-9438-25F4F93AB225}">
      <dgm:prSet/>
      <dgm:spPr/>
      <dgm:t>
        <a:bodyPr/>
        <a:lstStyle/>
        <a:p>
          <a:endParaRPr lang="en-US" sz="2000"/>
        </a:p>
      </dgm:t>
    </dgm:pt>
    <dgm:pt modelId="{4DE96ADE-0C38-4D0C-89CA-07ABE1BAB62D}" type="sibTrans" cxnId="{2005E0DE-1597-4595-9438-25F4F93AB225}">
      <dgm:prSet/>
      <dgm:spPr/>
      <dgm:t>
        <a:bodyPr/>
        <a:lstStyle/>
        <a:p>
          <a:endParaRPr lang="en-US" sz="2000"/>
        </a:p>
      </dgm:t>
    </dgm:pt>
    <dgm:pt modelId="{2F66CF49-6BA4-418D-B537-5BB3D5EDB003}">
      <dgm:prSet custT="1"/>
      <dgm:spPr/>
      <dgm:t>
        <a:bodyPr/>
        <a:lstStyle/>
        <a:p>
          <a:r>
            <a:rPr lang="en-US" sz="2400" baseline="0" dirty="0"/>
            <a:t>Indexes </a:t>
          </a:r>
          <a:r>
            <a:rPr lang="en-US" sz="2400" b="1" baseline="0" dirty="0"/>
            <a:t>count from 0</a:t>
          </a:r>
          <a:endParaRPr lang="en-US" sz="2400" b="1" dirty="0"/>
        </a:p>
      </dgm:t>
    </dgm:pt>
    <dgm:pt modelId="{34869E6A-F4F5-4E19-AA5D-2EF50CC54176}" type="parTrans" cxnId="{C6CF8B72-2FAD-4E22-AE32-3CAE49DBCC28}">
      <dgm:prSet/>
      <dgm:spPr/>
      <dgm:t>
        <a:bodyPr/>
        <a:lstStyle/>
        <a:p>
          <a:endParaRPr lang="en-US"/>
        </a:p>
      </dgm:t>
    </dgm:pt>
    <dgm:pt modelId="{5F78FC9B-3354-4FF8-B751-61D5D6B94030}" type="sibTrans" cxnId="{C6CF8B72-2FAD-4E22-AE32-3CAE49DBCC28}">
      <dgm:prSet/>
      <dgm:spPr/>
      <dgm:t>
        <a:bodyPr/>
        <a:lstStyle/>
        <a:p>
          <a:endParaRPr lang="en-US"/>
        </a:p>
      </dgm:t>
    </dgm:pt>
    <dgm:pt modelId="{52AE8EF7-8E27-4168-BCCC-44BC8D6D6B88}">
      <dgm:prSet custT="1"/>
      <dgm:spPr/>
      <dgm:t>
        <a:bodyPr/>
        <a:lstStyle/>
        <a:p>
          <a:r>
            <a:rPr lang="en-US" sz="2400" b="0" dirty="0"/>
            <a:t>Supports </a:t>
          </a:r>
          <a:r>
            <a:rPr lang="en-US" sz="2400" b="1" dirty="0"/>
            <a:t>negative indexes</a:t>
          </a:r>
        </a:p>
      </dgm:t>
    </dgm:pt>
    <dgm:pt modelId="{FBF5BF42-2B33-4B25-A87B-0C5DACA852EE}" type="parTrans" cxnId="{DC8BD376-BA01-4079-A7EF-7D4B99926DFB}">
      <dgm:prSet/>
      <dgm:spPr/>
      <dgm:t>
        <a:bodyPr/>
        <a:lstStyle/>
        <a:p>
          <a:endParaRPr lang="en-US"/>
        </a:p>
      </dgm:t>
    </dgm:pt>
    <dgm:pt modelId="{9AA4A516-02D5-4663-AF71-AC93747E9D51}" type="sibTrans" cxnId="{DC8BD376-BA01-4079-A7EF-7D4B99926DFB}">
      <dgm:prSet/>
      <dgm:spPr/>
      <dgm:t>
        <a:bodyPr/>
        <a:lstStyle/>
        <a:p>
          <a:endParaRPr lang="en-US"/>
        </a:p>
      </dgm:t>
    </dgm:pt>
    <dgm:pt modelId="{275C8186-DE9D-417F-8BFD-17FAC8DFCF0E}">
      <dgm:prSet custT="1"/>
      <dgm:spPr/>
      <dgm:t>
        <a:bodyPr/>
        <a:lstStyle/>
        <a:p>
          <a:r>
            <a:rPr lang="en-US" sz="2400" b="0" dirty="0"/>
            <a:t>Can pass in </a:t>
          </a:r>
          <a:r>
            <a:rPr lang="en-US" sz="2400" b="1" dirty="0"/>
            <a:t>multiple indexes</a:t>
          </a:r>
        </a:p>
      </dgm:t>
    </dgm:pt>
    <dgm:pt modelId="{F114AD24-555C-44F9-8926-61205447E3E6}" type="parTrans" cxnId="{90D24FDD-8FBF-43E8-A893-FC61B51886CC}">
      <dgm:prSet/>
      <dgm:spPr/>
      <dgm:t>
        <a:bodyPr/>
        <a:lstStyle/>
        <a:p>
          <a:endParaRPr lang="en-US"/>
        </a:p>
      </dgm:t>
    </dgm:pt>
    <dgm:pt modelId="{9A482DCA-6E32-4966-B71D-81468E6A55AA}" type="sibTrans" cxnId="{90D24FDD-8FBF-43E8-A893-FC61B51886CC}">
      <dgm:prSet/>
      <dgm:spPr/>
      <dgm:t>
        <a:bodyPr/>
        <a:lstStyle/>
        <a:p>
          <a:endParaRPr lang="en-US"/>
        </a:p>
      </dgm:t>
    </dgm:pt>
    <dgm:pt modelId="{BB39B392-6D9A-41EE-B62B-6A0AE907C8C6}" type="pres">
      <dgm:prSet presAssocID="{42DC932E-D9B7-4E75-A469-A9A958156D49}" presName="Name0" presStyleCnt="0">
        <dgm:presLayoutVars>
          <dgm:chMax val="7"/>
          <dgm:chPref val="7"/>
          <dgm:dir/>
        </dgm:presLayoutVars>
      </dgm:prSet>
      <dgm:spPr/>
    </dgm:pt>
    <dgm:pt modelId="{910CD841-C91A-44F3-A916-73F6131F6E0E}" type="pres">
      <dgm:prSet presAssocID="{42DC932E-D9B7-4E75-A469-A9A958156D49}" presName="Name1" presStyleCnt="0"/>
      <dgm:spPr/>
    </dgm:pt>
    <dgm:pt modelId="{404CE6A5-79ED-4DAD-86E4-650B544E7644}" type="pres">
      <dgm:prSet presAssocID="{42DC932E-D9B7-4E75-A469-A9A958156D49}" presName="cycle" presStyleCnt="0"/>
      <dgm:spPr/>
    </dgm:pt>
    <dgm:pt modelId="{88C10E6B-2B49-4AC3-9013-1A04CC75CA6A}" type="pres">
      <dgm:prSet presAssocID="{42DC932E-D9B7-4E75-A469-A9A958156D49}" presName="srcNode" presStyleLbl="node1" presStyleIdx="0" presStyleCnt="5"/>
      <dgm:spPr/>
    </dgm:pt>
    <dgm:pt modelId="{CD466AE4-F90C-4725-AAEC-1817AA9DC892}" type="pres">
      <dgm:prSet presAssocID="{42DC932E-D9B7-4E75-A469-A9A958156D49}" presName="conn" presStyleLbl="parChTrans1D2" presStyleIdx="0" presStyleCnt="1"/>
      <dgm:spPr/>
    </dgm:pt>
    <dgm:pt modelId="{2A99E42F-3BED-466D-A00A-8B5EF2F1D2FD}" type="pres">
      <dgm:prSet presAssocID="{42DC932E-D9B7-4E75-A469-A9A958156D49}" presName="extraNode" presStyleLbl="node1" presStyleIdx="0" presStyleCnt="5"/>
      <dgm:spPr/>
    </dgm:pt>
    <dgm:pt modelId="{FE20EEE0-F5BC-4AF6-A174-A0E3EDE9143F}" type="pres">
      <dgm:prSet presAssocID="{42DC932E-D9B7-4E75-A469-A9A958156D49}" presName="dstNode" presStyleLbl="node1" presStyleIdx="0" presStyleCnt="5"/>
      <dgm:spPr/>
    </dgm:pt>
    <dgm:pt modelId="{754F8787-5445-4D36-99E4-36A7FF50C6B0}" type="pres">
      <dgm:prSet presAssocID="{4249F560-CEF5-455E-B742-2DA644713141}" presName="text_1" presStyleLbl="node1" presStyleIdx="0" presStyleCnt="5">
        <dgm:presLayoutVars>
          <dgm:bulletEnabled val="1"/>
        </dgm:presLayoutVars>
      </dgm:prSet>
      <dgm:spPr/>
    </dgm:pt>
    <dgm:pt modelId="{25C8ED24-AD27-4649-A6B6-96A76A112F9D}" type="pres">
      <dgm:prSet presAssocID="{4249F560-CEF5-455E-B742-2DA644713141}" presName="accent_1" presStyleCnt="0"/>
      <dgm:spPr/>
    </dgm:pt>
    <dgm:pt modelId="{CBB99BD6-7144-40FD-BF57-F2E6AA62572C}" type="pres">
      <dgm:prSet presAssocID="{4249F560-CEF5-455E-B742-2DA644713141}" presName="accentRepeatNode" presStyleLbl="solidFgAcc1" presStyleIdx="0" presStyleCnt="5"/>
      <dgm:spPr/>
    </dgm:pt>
    <dgm:pt modelId="{C844E5EE-B5F7-4C2B-9FB5-CFB3A615BED8}" type="pres">
      <dgm:prSet presAssocID="{2ED51B67-8943-40BB-B957-0417881326B6}" presName="text_2" presStyleLbl="node1" presStyleIdx="1" presStyleCnt="5">
        <dgm:presLayoutVars>
          <dgm:bulletEnabled val="1"/>
        </dgm:presLayoutVars>
      </dgm:prSet>
      <dgm:spPr/>
    </dgm:pt>
    <dgm:pt modelId="{20C21338-BE23-47EA-83DD-45BFC2C39EC0}" type="pres">
      <dgm:prSet presAssocID="{2ED51B67-8943-40BB-B957-0417881326B6}" presName="accent_2" presStyleCnt="0"/>
      <dgm:spPr/>
    </dgm:pt>
    <dgm:pt modelId="{E8CF2225-F193-4E6C-B35A-2E00EE7F1839}" type="pres">
      <dgm:prSet presAssocID="{2ED51B67-8943-40BB-B957-0417881326B6}" presName="accentRepeatNode" presStyleLbl="solidFgAcc1" presStyleIdx="1" presStyleCnt="5"/>
      <dgm:spPr/>
    </dgm:pt>
    <dgm:pt modelId="{EC56E585-4A88-4CBC-8B5A-94E1D5766596}" type="pres">
      <dgm:prSet presAssocID="{2F66CF49-6BA4-418D-B537-5BB3D5EDB003}" presName="text_3" presStyleLbl="node1" presStyleIdx="2" presStyleCnt="5">
        <dgm:presLayoutVars>
          <dgm:bulletEnabled val="1"/>
        </dgm:presLayoutVars>
      </dgm:prSet>
      <dgm:spPr/>
    </dgm:pt>
    <dgm:pt modelId="{B08EF9E2-5C59-4883-B786-F8BD595C931F}" type="pres">
      <dgm:prSet presAssocID="{2F66CF49-6BA4-418D-B537-5BB3D5EDB003}" presName="accent_3" presStyleCnt="0"/>
      <dgm:spPr/>
    </dgm:pt>
    <dgm:pt modelId="{F25609F5-EFCB-4D68-9A51-A144669DDB53}" type="pres">
      <dgm:prSet presAssocID="{2F66CF49-6BA4-418D-B537-5BB3D5EDB003}" presName="accentRepeatNode" presStyleLbl="solidFgAcc1" presStyleIdx="2" presStyleCnt="5"/>
      <dgm:spPr/>
    </dgm:pt>
    <dgm:pt modelId="{FFF4E8B8-40BD-49E5-A561-CB6D248750B9}" type="pres">
      <dgm:prSet presAssocID="{52AE8EF7-8E27-4168-BCCC-44BC8D6D6B88}" presName="text_4" presStyleLbl="node1" presStyleIdx="3" presStyleCnt="5">
        <dgm:presLayoutVars>
          <dgm:bulletEnabled val="1"/>
        </dgm:presLayoutVars>
      </dgm:prSet>
      <dgm:spPr/>
    </dgm:pt>
    <dgm:pt modelId="{26A33DC2-DBB1-4006-843D-4CDCF1BCA9E5}" type="pres">
      <dgm:prSet presAssocID="{52AE8EF7-8E27-4168-BCCC-44BC8D6D6B88}" presName="accent_4" presStyleCnt="0"/>
      <dgm:spPr/>
    </dgm:pt>
    <dgm:pt modelId="{545E804E-604E-4D96-BD10-671EC69DAF8B}" type="pres">
      <dgm:prSet presAssocID="{52AE8EF7-8E27-4168-BCCC-44BC8D6D6B88}" presName="accentRepeatNode" presStyleLbl="solidFgAcc1" presStyleIdx="3" presStyleCnt="5"/>
      <dgm:spPr/>
    </dgm:pt>
    <dgm:pt modelId="{1315F9D0-4A89-4665-B13D-0F452D886F8D}" type="pres">
      <dgm:prSet presAssocID="{275C8186-DE9D-417F-8BFD-17FAC8DFCF0E}" presName="text_5" presStyleLbl="node1" presStyleIdx="4" presStyleCnt="5">
        <dgm:presLayoutVars>
          <dgm:bulletEnabled val="1"/>
        </dgm:presLayoutVars>
      </dgm:prSet>
      <dgm:spPr/>
    </dgm:pt>
    <dgm:pt modelId="{1CD998DD-698B-4D96-8A04-0BE7F73EEABD}" type="pres">
      <dgm:prSet presAssocID="{275C8186-DE9D-417F-8BFD-17FAC8DFCF0E}" presName="accent_5" presStyleCnt="0"/>
      <dgm:spPr/>
    </dgm:pt>
    <dgm:pt modelId="{065ABEF3-F84A-4D14-A3CE-3561B3CC5C3F}" type="pres">
      <dgm:prSet presAssocID="{275C8186-DE9D-417F-8BFD-17FAC8DFCF0E}" presName="accentRepeatNode" presStyleLbl="solidFgAcc1" presStyleIdx="4" presStyleCnt="5"/>
      <dgm:spPr/>
    </dgm:pt>
  </dgm:ptLst>
  <dgm:cxnLst>
    <dgm:cxn modelId="{7EB3570B-56F7-47ED-99EE-8CB5C66FF0CE}" srcId="{42DC932E-D9B7-4E75-A469-A9A958156D49}" destId="{4249F560-CEF5-455E-B742-2DA644713141}" srcOrd="0" destOrd="0" parTransId="{986B0423-7BAC-4F99-BABE-657B908614BF}" sibTransId="{5450214D-ACCA-4AE3-8F56-E72FCEE5606A}"/>
    <dgm:cxn modelId="{C6CF8B72-2FAD-4E22-AE32-3CAE49DBCC28}" srcId="{42DC932E-D9B7-4E75-A469-A9A958156D49}" destId="{2F66CF49-6BA4-418D-B537-5BB3D5EDB003}" srcOrd="2" destOrd="0" parTransId="{34869E6A-F4F5-4E19-AA5D-2EF50CC54176}" sibTransId="{5F78FC9B-3354-4FF8-B751-61D5D6B94030}"/>
    <dgm:cxn modelId="{DC8BD376-BA01-4079-A7EF-7D4B99926DFB}" srcId="{42DC932E-D9B7-4E75-A469-A9A958156D49}" destId="{52AE8EF7-8E27-4168-BCCC-44BC8D6D6B88}" srcOrd="3" destOrd="0" parTransId="{FBF5BF42-2B33-4B25-A87B-0C5DACA852EE}" sibTransId="{9AA4A516-02D5-4663-AF71-AC93747E9D51}"/>
    <dgm:cxn modelId="{DBD4F384-71D7-4214-97E4-4C58A7BF63FB}" type="presOf" srcId="{52AE8EF7-8E27-4168-BCCC-44BC8D6D6B88}" destId="{FFF4E8B8-40BD-49E5-A561-CB6D248750B9}" srcOrd="0" destOrd="0" presId="urn:microsoft.com/office/officeart/2008/layout/VerticalCurvedList"/>
    <dgm:cxn modelId="{BB478F86-DAE7-43AD-B4A2-81EF8C24C4B3}" type="presOf" srcId="{2F66CF49-6BA4-418D-B537-5BB3D5EDB003}" destId="{EC56E585-4A88-4CBC-8B5A-94E1D5766596}" srcOrd="0" destOrd="0" presId="urn:microsoft.com/office/officeart/2008/layout/VerticalCurvedList"/>
    <dgm:cxn modelId="{428F8593-3EF2-446C-825E-427222B8D4AB}" type="presOf" srcId="{5450214D-ACCA-4AE3-8F56-E72FCEE5606A}" destId="{CD466AE4-F90C-4725-AAEC-1817AA9DC892}" srcOrd="0" destOrd="0" presId="urn:microsoft.com/office/officeart/2008/layout/VerticalCurvedList"/>
    <dgm:cxn modelId="{86DE6594-1FC3-4A73-A64E-D6EB0F2B630C}" type="presOf" srcId="{275C8186-DE9D-417F-8BFD-17FAC8DFCF0E}" destId="{1315F9D0-4A89-4665-B13D-0F452D886F8D}" srcOrd="0" destOrd="0" presId="urn:microsoft.com/office/officeart/2008/layout/VerticalCurvedList"/>
    <dgm:cxn modelId="{ED9FE99E-72EB-451A-96D7-C37F92C362FF}" type="presOf" srcId="{2ED51B67-8943-40BB-B957-0417881326B6}" destId="{C844E5EE-B5F7-4C2B-9FB5-CFB3A615BED8}" srcOrd="0" destOrd="0" presId="urn:microsoft.com/office/officeart/2008/layout/VerticalCurvedList"/>
    <dgm:cxn modelId="{21BBD2BF-E151-49E4-8E17-06C4F873A42A}" type="presOf" srcId="{42DC932E-D9B7-4E75-A469-A9A958156D49}" destId="{BB39B392-6D9A-41EE-B62B-6A0AE907C8C6}" srcOrd="0" destOrd="0" presId="urn:microsoft.com/office/officeart/2008/layout/VerticalCurvedList"/>
    <dgm:cxn modelId="{90D24FDD-8FBF-43E8-A893-FC61B51886CC}" srcId="{42DC932E-D9B7-4E75-A469-A9A958156D49}" destId="{275C8186-DE9D-417F-8BFD-17FAC8DFCF0E}" srcOrd="4" destOrd="0" parTransId="{F114AD24-555C-44F9-8926-61205447E3E6}" sibTransId="{9A482DCA-6E32-4966-B71D-81468E6A55AA}"/>
    <dgm:cxn modelId="{11C9C6DE-13CB-4356-A501-7C0EECDA14BE}" type="presOf" srcId="{4249F560-CEF5-455E-B742-2DA644713141}" destId="{754F8787-5445-4D36-99E4-36A7FF50C6B0}" srcOrd="0" destOrd="0" presId="urn:microsoft.com/office/officeart/2008/layout/VerticalCurvedList"/>
    <dgm:cxn modelId="{2005E0DE-1597-4595-9438-25F4F93AB225}" srcId="{42DC932E-D9B7-4E75-A469-A9A958156D49}" destId="{2ED51B67-8943-40BB-B957-0417881326B6}" srcOrd="1" destOrd="0" parTransId="{07797A0B-AEE0-4360-8D5F-71FFE961C333}" sibTransId="{4DE96ADE-0C38-4D0C-89CA-07ABE1BAB62D}"/>
    <dgm:cxn modelId="{CDDD6221-8CF3-46ED-928B-4CD81254D1EE}" type="presParOf" srcId="{BB39B392-6D9A-41EE-B62B-6A0AE907C8C6}" destId="{910CD841-C91A-44F3-A916-73F6131F6E0E}" srcOrd="0" destOrd="0" presId="urn:microsoft.com/office/officeart/2008/layout/VerticalCurvedList"/>
    <dgm:cxn modelId="{06B9E8D3-9103-4B38-91E5-EFBE859CA56B}" type="presParOf" srcId="{910CD841-C91A-44F3-A916-73F6131F6E0E}" destId="{404CE6A5-79ED-4DAD-86E4-650B544E7644}" srcOrd="0" destOrd="0" presId="urn:microsoft.com/office/officeart/2008/layout/VerticalCurvedList"/>
    <dgm:cxn modelId="{81660734-70C2-4DA1-B92D-288533D90C08}" type="presParOf" srcId="{404CE6A5-79ED-4DAD-86E4-650B544E7644}" destId="{88C10E6B-2B49-4AC3-9013-1A04CC75CA6A}" srcOrd="0" destOrd="0" presId="urn:microsoft.com/office/officeart/2008/layout/VerticalCurvedList"/>
    <dgm:cxn modelId="{B7DE697B-4C45-408E-9227-5DE725DD245C}" type="presParOf" srcId="{404CE6A5-79ED-4DAD-86E4-650B544E7644}" destId="{CD466AE4-F90C-4725-AAEC-1817AA9DC892}" srcOrd="1" destOrd="0" presId="urn:microsoft.com/office/officeart/2008/layout/VerticalCurvedList"/>
    <dgm:cxn modelId="{5E1C2026-95B6-4387-821A-E9EB04B1B00D}" type="presParOf" srcId="{404CE6A5-79ED-4DAD-86E4-650B544E7644}" destId="{2A99E42F-3BED-466D-A00A-8B5EF2F1D2FD}" srcOrd="2" destOrd="0" presId="urn:microsoft.com/office/officeart/2008/layout/VerticalCurvedList"/>
    <dgm:cxn modelId="{3C3969AE-7BEB-42CE-A1DA-2423AEE59BCD}" type="presParOf" srcId="{404CE6A5-79ED-4DAD-86E4-650B544E7644}" destId="{FE20EEE0-F5BC-4AF6-A174-A0E3EDE9143F}" srcOrd="3" destOrd="0" presId="urn:microsoft.com/office/officeart/2008/layout/VerticalCurvedList"/>
    <dgm:cxn modelId="{5194324E-8D7E-4065-A91A-8293765645CA}" type="presParOf" srcId="{910CD841-C91A-44F3-A916-73F6131F6E0E}" destId="{754F8787-5445-4D36-99E4-36A7FF50C6B0}" srcOrd="1" destOrd="0" presId="urn:microsoft.com/office/officeart/2008/layout/VerticalCurvedList"/>
    <dgm:cxn modelId="{BB6EB7E0-77EE-46EE-B1F9-EC51B92B1F64}" type="presParOf" srcId="{910CD841-C91A-44F3-A916-73F6131F6E0E}" destId="{25C8ED24-AD27-4649-A6B6-96A76A112F9D}" srcOrd="2" destOrd="0" presId="urn:microsoft.com/office/officeart/2008/layout/VerticalCurvedList"/>
    <dgm:cxn modelId="{739C7F78-D270-4B65-B45A-FBB99CD19017}" type="presParOf" srcId="{25C8ED24-AD27-4649-A6B6-96A76A112F9D}" destId="{CBB99BD6-7144-40FD-BF57-F2E6AA62572C}" srcOrd="0" destOrd="0" presId="urn:microsoft.com/office/officeart/2008/layout/VerticalCurvedList"/>
    <dgm:cxn modelId="{58DA7AFD-CB9E-487F-B662-7488F39351A2}" type="presParOf" srcId="{910CD841-C91A-44F3-A916-73F6131F6E0E}" destId="{C844E5EE-B5F7-4C2B-9FB5-CFB3A615BED8}" srcOrd="3" destOrd="0" presId="urn:microsoft.com/office/officeart/2008/layout/VerticalCurvedList"/>
    <dgm:cxn modelId="{52833E3B-3924-4687-9FC3-CFBD5F3DC59B}" type="presParOf" srcId="{910CD841-C91A-44F3-A916-73F6131F6E0E}" destId="{20C21338-BE23-47EA-83DD-45BFC2C39EC0}" srcOrd="4" destOrd="0" presId="urn:microsoft.com/office/officeart/2008/layout/VerticalCurvedList"/>
    <dgm:cxn modelId="{0B05511A-0205-461C-A355-31CBCBFC63F7}" type="presParOf" srcId="{20C21338-BE23-47EA-83DD-45BFC2C39EC0}" destId="{E8CF2225-F193-4E6C-B35A-2E00EE7F1839}" srcOrd="0" destOrd="0" presId="urn:microsoft.com/office/officeart/2008/layout/VerticalCurvedList"/>
    <dgm:cxn modelId="{1DD64678-1A49-43A6-A74E-F8261C33FED8}" type="presParOf" srcId="{910CD841-C91A-44F3-A916-73F6131F6E0E}" destId="{EC56E585-4A88-4CBC-8B5A-94E1D5766596}" srcOrd="5" destOrd="0" presId="urn:microsoft.com/office/officeart/2008/layout/VerticalCurvedList"/>
    <dgm:cxn modelId="{D83ADF6A-6B0D-4331-B7E2-E917D475E89D}" type="presParOf" srcId="{910CD841-C91A-44F3-A916-73F6131F6E0E}" destId="{B08EF9E2-5C59-4883-B786-F8BD595C931F}" srcOrd="6" destOrd="0" presId="urn:microsoft.com/office/officeart/2008/layout/VerticalCurvedList"/>
    <dgm:cxn modelId="{E7E160BD-F018-4F35-A4CF-27FD523CAFF8}" type="presParOf" srcId="{B08EF9E2-5C59-4883-B786-F8BD595C931F}" destId="{F25609F5-EFCB-4D68-9A51-A144669DDB53}" srcOrd="0" destOrd="0" presId="urn:microsoft.com/office/officeart/2008/layout/VerticalCurvedList"/>
    <dgm:cxn modelId="{C6F86EB9-0563-4DB1-A38A-334B05A0EC02}" type="presParOf" srcId="{910CD841-C91A-44F3-A916-73F6131F6E0E}" destId="{FFF4E8B8-40BD-49E5-A561-CB6D248750B9}" srcOrd="7" destOrd="0" presId="urn:microsoft.com/office/officeart/2008/layout/VerticalCurvedList"/>
    <dgm:cxn modelId="{A0CE780D-A681-47B4-852F-6A9EA99F8E46}" type="presParOf" srcId="{910CD841-C91A-44F3-A916-73F6131F6E0E}" destId="{26A33DC2-DBB1-4006-843D-4CDCF1BCA9E5}" srcOrd="8" destOrd="0" presId="urn:microsoft.com/office/officeart/2008/layout/VerticalCurvedList"/>
    <dgm:cxn modelId="{583491B5-734E-4F0B-B86C-1C274FAA686B}" type="presParOf" srcId="{26A33DC2-DBB1-4006-843D-4CDCF1BCA9E5}" destId="{545E804E-604E-4D96-BD10-671EC69DAF8B}" srcOrd="0" destOrd="0" presId="urn:microsoft.com/office/officeart/2008/layout/VerticalCurvedList"/>
    <dgm:cxn modelId="{22842D12-D7FF-462F-8C8E-1BF95107AC77}" type="presParOf" srcId="{910CD841-C91A-44F3-A916-73F6131F6E0E}" destId="{1315F9D0-4A89-4665-B13D-0F452D886F8D}" srcOrd="9" destOrd="0" presId="urn:microsoft.com/office/officeart/2008/layout/VerticalCurvedList"/>
    <dgm:cxn modelId="{C6C2CEC8-2A79-4359-9114-6A1BFFA380A4}" type="presParOf" srcId="{910CD841-C91A-44F3-A916-73F6131F6E0E}" destId="{1CD998DD-698B-4D96-8A04-0BE7F73EEABD}" srcOrd="10" destOrd="0" presId="urn:microsoft.com/office/officeart/2008/layout/VerticalCurvedList"/>
    <dgm:cxn modelId="{9D35B618-115D-40E0-9AB8-296FB14CB905}" type="presParOf" srcId="{1CD998DD-698B-4D96-8A04-0BE7F73EEABD}" destId="{065ABEF3-F84A-4D14-A3CE-3561B3CC5C3F}"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2A80E6D-0895-4610-9C96-CD21BA1401BA}" type="doc">
      <dgm:prSet loTypeId="urn:microsoft.com/office/officeart/2005/8/layout/default" loCatId="list" qsTypeId="urn:microsoft.com/office/officeart/2005/8/quickstyle/simple1" qsCatId="simple" csTypeId="urn:microsoft.com/office/officeart/2005/8/colors/accent3_2" csCatId="accent3" phldr="1"/>
      <dgm:spPr/>
      <dgm:t>
        <a:bodyPr/>
        <a:lstStyle/>
        <a:p>
          <a:endParaRPr lang="en-US"/>
        </a:p>
      </dgm:t>
    </dgm:pt>
    <dgm:pt modelId="{B90280F9-E4CD-415A-B7E8-7A91B2A0BCD2}">
      <dgm:prSet custT="1"/>
      <dgm:spPr>
        <a:solidFill>
          <a:schemeClr val="accent4">
            <a:lumMod val="75000"/>
          </a:schemeClr>
        </a:solidFill>
      </dgm:spPr>
      <dgm:t>
        <a:bodyPr/>
        <a:lstStyle/>
        <a:p>
          <a:r>
            <a:rPr lang="en-AU" sz="2000" b="1" baseline="0" dirty="0"/>
            <a:t>While</a:t>
          </a:r>
          <a:endParaRPr lang="en-US" sz="2000" dirty="0"/>
        </a:p>
      </dgm:t>
    </dgm:pt>
    <dgm:pt modelId="{441F4E3E-5AAA-4E6F-A900-CBD80C2A266A}" type="parTrans" cxnId="{3E570F21-9588-44AD-A8FA-9E44AC1C81ED}">
      <dgm:prSet/>
      <dgm:spPr/>
      <dgm:t>
        <a:bodyPr/>
        <a:lstStyle/>
        <a:p>
          <a:endParaRPr lang="en-US"/>
        </a:p>
      </dgm:t>
    </dgm:pt>
    <dgm:pt modelId="{3D40EB7B-BE07-4954-B2CA-96A593B24306}" type="sibTrans" cxnId="{3E570F21-9588-44AD-A8FA-9E44AC1C81ED}">
      <dgm:prSet/>
      <dgm:spPr/>
      <dgm:t>
        <a:bodyPr/>
        <a:lstStyle/>
        <a:p>
          <a:endParaRPr lang="en-US"/>
        </a:p>
      </dgm:t>
    </dgm:pt>
    <dgm:pt modelId="{AE3424D1-4835-4A93-8D15-ED8A1C94139D}">
      <dgm:prSet custT="1"/>
      <dgm:spPr>
        <a:solidFill>
          <a:schemeClr val="accent4">
            <a:lumMod val="75000"/>
          </a:schemeClr>
        </a:solidFill>
      </dgm:spPr>
      <dgm:t>
        <a:bodyPr/>
        <a:lstStyle/>
        <a:p>
          <a:r>
            <a:rPr lang="en-AU" sz="2000" baseline="0" dirty="0"/>
            <a:t>Tests for </a:t>
          </a:r>
          <a:r>
            <a:rPr lang="en-AU" sz="2000" b="1" baseline="0" dirty="0"/>
            <a:t>$True </a:t>
          </a:r>
          <a:r>
            <a:rPr lang="en-AU" sz="2000" baseline="0" dirty="0"/>
            <a:t>condition, </a:t>
          </a:r>
          <a:r>
            <a:rPr lang="en-AU" sz="2000" b="1" baseline="0" dirty="0"/>
            <a:t>then</a:t>
          </a:r>
          <a:r>
            <a:rPr lang="en-AU" sz="2000" baseline="0" dirty="0"/>
            <a:t> runs code</a:t>
          </a:r>
          <a:endParaRPr lang="en-US" sz="2000" dirty="0"/>
        </a:p>
      </dgm:t>
    </dgm:pt>
    <dgm:pt modelId="{9563970B-767F-4A51-8DAD-75CE75B1F4CB}" type="parTrans" cxnId="{30A02859-23D1-4DA5-BB24-5A8081ABE89E}">
      <dgm:prSet/>
      <dgm:spPr/>
      <dgm:t>
        <a:bodyPr/>
        <a:lstStyle/>
        <a:p>
          <a:endParaRPr lang="en-US"/>
        </a:p>
      </dgm:t>
    </dgm:pt>
    <dgm:pt modelId="{1AFC9F75-C669-4202-B1BC-726D34D3B991}" type="sibTrans" cxnId="{30A02859-23D1-4DA5-BB24-5A8081ABE89E}">
      <dgm:prSet/>
      <dgm:spPr/>
      <dgm:t>
        <a:bodyPr/>
        <a:lstStyle/>
        <a:p>
          <a:endParaRPr lang="en-US"/>
        </a:p>
      </dgm:t>
    </dgm:pt>
    <dgm:pt modelId="{C92367BE-42B2-41FC-9D5D-81C703873A6C}">
      <dgm:prSet custT="1"/>
      <dgm:spPr>
        <a:solidFill>
          <a:schemeClr val="accent4">
            <a:lumMod val="75000"/>
          </a:schemeClr>
        </a:solidFill>
      </dgm:spPr>
      <dgm:t>
        <a:bodyPr/>
        <a:lstStyle/>
        <a:p>
          <a:r>
            <a:rPr lang="en-AU" sz="2000" b="1" baseline="0" dirty="0"/>
            <a:t>Do While</a:t>
          </a:r>
          <a:endParaRPr lang="en-US" sz="2000" dirty="0"/>
        </a:p>
      </dgm:t>
    </dgm:pt>
    <dgm:pt modelId="{0338FF3A-1A90-434B-AF6D-ED0B138677D8}" type="parTrans" cxnId="{A07CDA46-86A9-4E57-8323-C909D9BAB6FD}">
      <dgm:prSet/>
      <dgm:spPr/>
      <dgm:t>
        <a:bodyPr/>
        <a:lstStyle/>
        <a:p>
          <a:endParaRPr lang="en-US"/>
        </a:p>
      </dgm:t>
    </dgm:pt>
    <dgm:pt modelId="{7A1E5BA0-F9C6-4B59-8A82-BA8B551A7688}" type="sibTrans" cxnId="{A07CDA46-86A9-4E57-8323-C909D9BAB6FD}">
      <dgm:prSet/>
      <dgm:spPr/>
      <dgm:t>
        <a:bodyPr/>
        <a:lstStyle/>
        <a:p>
          <a:endParaRPr lang="en-US"/>
        </a:p>
      </dgm:t>
    </dgm:pt>
    <dgm:pt modelId="{5D56CD02-A2BC-443B-9839-05F3EDC7DFAD}">
      <dgm:prSet custT="1"/>
      <dgm:spPr>
        <a:solidFill>
          <a:schemeClr val="accent4">
            <a:lumMod val="75000"/>
          </a:schemeClr>
        </a:solidFill>
      </dgm:spPr>
      <dgm:t>
        <a:bodyPr/>
        <a:lstStyle/>
        <a:p>
          <a:r>
            <a:rPr lang="en-AU" sz="2000" baseline="0" dirty="0"/>
            <a:t>Runs code, </a:t>
          </a:r>
          <a:r>
            <a:rPr lang="en-AU" sz="2000" b="1" baseline="0" dirty="0"/>
            <a:t>then</a:t>
          </a:r>
          <a:r>
            <a:rPr lang="en-AU" sz="2000" baseline="0" dirty="0"/>
            <a:t> tests for </a:t>
          </a:r>
          <a:r>
            <a:rPr lang="en-AU" sz="2000" b="1" baseline="0" dirty="0"/>
            <a:t>$True </a:t>
          </a:r>
          <a:r>
            <a:rPr lang="en-AU" sz="2000" baseline="0" dirty="0"/>
            <a:t>condition</a:t>
          </a:r>
          <a:endParaRPr lang="en-US" sz="2000" dirty="0"/>
        </a:p>
      </dgm:t>
    </dgm:pt>
    <dgm:pt modelId="{70F0512C-F95F-43D2-B2AD-4C6F1A61FA04}" type="parTrans" cxnId="{2E3BCFEB-E2B0-4BEE-A743-EC5260E7B96F}">
      <dgm:prSet/>
      <dgm:spPr/>
      <dgm:t>
        <a:bodyPr/>
        <a:lstStyle/>
        <a:p>
          <a:endParaRPr lang="en-US"/>
        </a:p>
      </dgm:t>
    </dgm:pt>
    <dgm:pt modelId="{76792793-12D9-4915-99EA-9144599F5667}" type="sibTrans" cxnId="{2E3BCFEB-E2B0-4BEE-A743-EC5260E7B96F}">
      <dgm:prSet/>
      <dgm:spPr/>
      <dgm:t>
        <a:bodyPr/>
        <a:lstStyle/>
        <a:p>
          <a:endParaRPr lang="en-US"/>
        </a:p>
      </dgm:t>
    </dgm:pt>
    <dgm:pt modelId="{0FB8E9AE-1591-4D48-994D-DBFB55FE04CE}">
      <dgm:prSet custT="1"/>
      <dgm:spPr>
        <a:solidFill>
          <a:schemeClr val="accent4">
            <a:lumMod val="75000"/>
          </a:schemeClr>
        </a:solidFill>
      </dgm:spPr>
      <dgm:t>
        <a:bodyPr/>
        <a:lstStyle/>
        <a:p>
          <a:r>
            <a:rPr lang="en-AU" sz="2000" b="1" baseline="0" dirty="0"/>
            <a:t>Do Until</a:t>
          </a:r>
          <a:endParaRPr lang="en-US" sz="2000" dirty="0"/>
        </a:p>
      </dgm:t>
    </dgm:pt>
    <dgm:pt modelId="{24F6BF40-DD9B-429D-AA6D-886B90BFC1B0}" type="parTrans" cxnId="{2D6093C4-ED05-48FD-A9C0-4B304CCD7B52}">
      <dgm:prSet/>
      <dgm:spPr/>
      <dgm:t>
        <a:bodyPr/>
        <a:lstStyle/>
        <a:p>
          <a:endParaRPr lang="en-US"/>
        </a:p>
      </dgm:t>
    </dgm:pt>
    <dgm:pt modelId="{675C229C-C117-43CF-80BB-923BEA49E9A2}" type="sibTrans" cxnId="{2D6093C4-ED05-48FD-A9C0-4B304CCD7B52}">
      <dgm:prSet/>
      <dgm:spPr/>
      <dgm:t>
        <a:bodyPr/>
        <a:lstStyle/>
        <a:p>
          <a:endParaRPr lang="en-US"/>
        </a:p>
      </dgm:t>
    </dgm:pt>
    <dgm:pt modelId="{45A6B919-7918-4F5C-B79C-AABFF51C3C00}">
      <dgm:prSet custT="1"/>
      <dgm:spPr>
        <a:solidFill>
          <a:schemeClr val="accent4">
            <a:lumMod val="75000"/>
          </a:schemeClr>
        </a:solidFill>
      </dgm:spPr>
      <dgm:t>
        <a:bodyPr/>
        <a:lstStyle/>
        <a:p>
          <a:r>
            <a:rPr lang="en-AU" sz="2000" baseline="0" dirty="0"/>
            <a:t>Runs code, </a:t>
          </a:r>
          <a:r>
            <a:rPr lang="en-AU" sz="2000" b="1" baseline="0" dirty="0"/>
            <a:t>then</a:t>
          </a:r>
          <a:r>
            <a:rPr lang="en-AU" sz="2000" baseline="0" dirty="0"/>
            <a:t> tests for </a:t>
          </a:r>
          <a:r>
            <a:rPr lang="en-AU" sz="2000" b="1" baseline="0" dirty="0"/>
            <a:t>$False </a:t>
          </a:r>
          <a:r>
            <a:rPr lang="en-AU" sz="2000" baseline="0" dirty="0"/>
            <a:t>condition</a:t>
          </a:r>
          <a:endParaRPr lang="en-US" sz="2000" dirty="0"/>
        </a:p>
      </dgm:t>
    </dgm:pt>
    <dgm:pt modelId="{C4B5B861-7F53-401A-A7D5-11F97BCEEF8D}" type="parTrans" cxnId="{29A4D326-AB7C-4201-B36F-A97EB4197715}">
      <dgm:prSet/>
      <dgm:spPr/>
      <dgm:t>
        <a:bodyPr/>
        <a:lstStyle/>
        <a:p>
          <a:endParaRPr lang="en-US"/>
        </a:p>
      </dgm:t>
    </dgm:pt>
    <dgm:pt modelId="{05D2B910-7CDC-4085-8BC5-ED4CEE6859FD}" type="sibTrans" cxnId="{29A4D326-AB7C-4201-B36F-A97EB4197715}">
      <dgm:prSet/>
      <dgm:spPr/>
      <dgm:t>
        <a:bodyPr/>
        <a:lstStyle/>
        <a:p>
          <a:endParaRPr lang="en-US"/>
        </a:p>
      </dgm:t>
    </dgm:pt>
    <dgm:pt modelId="{F5E55C55-7E9D-4ED8-A16C-DCB290C5E378}" type="pres">
      <dgm:prSet presAssocID="{E2A80E6D-0895-4610-9C96-CD21BA1401BA}" presName="diagram" presStyleCnt="0">
        <dgm:presLayoutVars>
          <dgm:dir/>
          <dgm:resizeHandles val="exact"/>
        </dgm:presLayoutVars>
      </dgm:prSet>
      <dgm:spPr/>
    </dgm:pt>
    <dgm:pt modelId="{595DF344-35E6-45CF-87CA-F9D1EEF3C361}" type="pres">
      <dgm:prSet presAssocID="{B90280F9-E4CD-415A-B7E8-7A91B2A0BCD2}" presName="node" presStyleLbl="node1" presStyleIdx="0" presStyleCnt="3" custScaleX="102687" custScaleY="54346">
        <dgm:presLayoutVars>
          <dgm:bulletEnabled val="1"/>
        </dgm:presLayoutVars>
      </dgm:prSet>
      <dgm:spPr/>
    </dgm:pt>
    <dgm:pt modelId="{B3FE5DE6-E4EC-4C7F-A0EB-7B7391A15E02}" type="pres">
      <dgm:prSet presAssocID="{3D40EB7B-BE07-4954-B2CA-96A593B24306}" presName="sibTrans" presStyleCnt="0"/>
      <dgm:spPr/>
    </dgm:pt>
    <dgm:pt modelId="{D76CB94C-B9A5-4CB8-9B23-EE8EA317BD5F}" type="pres">
      <dgm:prSet presAssocID="{C92367BE-42B2-41FC-9D5D-81C703873A6C}" presName="node" presStyleLbl="node1" presStyleIdx="1" presStyleCnt="3" custScaleY="54346">
        <dgm:presLayoutVars>
          <dgm:bulletEnabled val="1"/>
        </dgm:presLayoutVars>
      </dgm:prSet>
      <dgm:spPr/>
    </dgm:pt>
    <dgm:pt modelId="{A58ECB5A-0654-4BD2-8B71-863E5B19A918}" type="pres">
      <dgm:prSet presAssocID="{7A1E5BA0-F9C6-4B59-8A82-BA8B551A7688}" presName="sibTrans" presStyleCnt="0"/>
      <dgm:spPr/>
    </dgm:pt>
    <dgm:pt modelId="{AA41DACC-BED1-409C-998C-9C41D106365B}" type="pres">
      <dgm:prSet presAssocID="{0FB8E9AE-1591-4D48-994D-DBFB55FE04CE}" presName="node" presStyleLbl="node1" presStyleIdx="2" presStyleCnt="3" custScaleY="54346">
        <dgm:presLayoutVars>
          <dgm:bulletEnabled val="1"/>
        </dgm:presLayoutVars>
      </dgm:prSet>
      <dgm:spPr/>
    </dgm:pt>
  </dgm:ptLst>
  <dgm:cxnLst>
    <dgm:cxn modelId="{72EC401D-2BCC-43E8-B33C-626E599025E7}" type="presOf" srcId="{5D56CD02-A2BC-443B-9839-05F3EDC7DFAD}" destId="{D76CB94C-B9A5-4CB8-9B23-EE8EA317BD5F}" srcOrd="0" destOrd="1" presId="urn:microsoft.com/office/officeart/2005/8/layout/default"/>
    <dgm:cxn modelId="{3E570F21-9588-44AD-A8FA-9E44AC1C81ED}" srcId="{E2A80E6D-0895-4610-9C96-CD21BA1401BA}" destId="{B90280F9-E4CD-415A-B7E8-7A91B2A0BCD2}" srcOrd="0" destOrd="0" parTransId="{441F4E3E-5AAA-4E6F-A900-CBD80C2A266A}" sibTransId="{3D40EB7B-BE07-4954-B2CA-96A593B24306}"/>
    <dgm:cxn modelId="{29A4D326-AB7C-4201-B36F-A97EB4197715}" srcId="{0FB8E9AE-1591-4D48-994D-DBFB55FE04CE}" destId="{45A6B919-7918-4F5C-B79C-AABFF51C3C00}" srcOrd="0" destOrd="0" parTransId="{C4B5B861-7F53-401A-A7D5-11F97BCEEF8D}" sibTransId="{05D2B910-7CDC-4085-8BC5-ED4CEE6859FD}"/>
    <dgm:cxn modelId="{9BB4C83B-5AF6-4C6C-B2DA-997D86C2FF90}" type="presOf" srcId="{B90280F9-E4CD-415A-B7E8-7A91B2A0BCD2}" destId="{595DF344-35E6-45CF-87CA-F9D1EEF3C361}" srcOrd="0" destOrd="0" presId="urn:microsoft.com/office/officeart/2005/8/layout/default"/>
    <dgm:cxn modelId="{A07CDA46-86A9-4E57-8323-C909D9BAB6FD}" srcId="{E2A80E6D-0895-4610-9C96-CD21BA1401BA}" destId="{C92367BE-42B2-41FC-9D5D-81C703873A6C}" srcOrd="1" destOrd="0" parTransId="{0338FF3A-1A90-434B-AF6D-ED0B138677D8}" sibTransId="{7A1E5BA0-F9C6-4B59-8A82-BA8B551A7688}"/>
    <dgm:cxn modelId="{EF703169-8090-4EE5-8B3F-767017FE40D7}" type="presOf" srcId="{AE3424D1-4835-4A93-8D15-ED8A1C94139D}" destId="{595DF344-35E6-45CF-87CA-F9D1EEF3C361}" srcOrd="0" destOrd="1" presId="urn:microsoft.com/office/officeart/2005/8/layout/default"/>
    <dgm:cxn modelId="{30A02859-23D1-4DA5-BB24-5A8081ABE89E}" srcId="{B90280F9-E4CD-415A-B7E8-7A91B2A0BCD2}" destId="{AE3424D1-4835-4A93-8D15-ED8A1C94139D}" srcOrd="0" destOrd="0" parTransId="{9563970B-767F-4A51-8DAD-75CE75B1F4CB}" sibTransId="{1AFC9F75-C669-4202-B1BC-726D34D3B991}"/>
    <dgm:cxn modelId="{5D8F4892-3209-42A6-A75D-0CF0E8FEA056}" type="presOf" srcId="{C92367BE-42B2-41FC-9D5D-81C703873A6C}" destId="{D76CB94C-B9A5-4CB8-9B23-EE8EA317BD5F}" srcOrd="0" destOrd="0" presId="urn:microsoft.com/office/officeart/2005/8/layout/default"/>
    <dgm:cxn modelId="{D99AAA9D-A449-49AD-84A8-298E48D2FF81}" type="presOf" srcId="{0FB8E9AE-1591-4D48-994D-DBFB55FE04CE}" destId="{AA41DACC-BED1-409C-998C-9C41D106365B}" srcOrd="0" destOrd="0" presId="urn:microsoft.com/office/officeart/2005/8/layout/default"/>
    <dgm:cxn modelId="{15B986AA-B32A-4072-9911-7B83EC5DBC95}" type="presOf" srcId="{E2A80E6D-0895-4610-9C96-CD21BA1401BA}" destId="{F5E55C55-7E9D-4ED8-A16C-DCB290C5E378}" srcOrd="0" destOrd="0" presId="urn:microsoft.com/office/officeart/2005/8/layout/default"/>
    <dgm:cxn modelId="{2D6093C4-ED05-48FD-A9C0-4B304CCD7B52}" srcId="{E2A80E6D-0895-4610-9C96-CD21BA1401BA}" destId="{0FB8E9AE-1591-4D48-994D-DBFB55FE04CE}" srcOrd="2" destOrd="0" parTransId="{24F6BF40-DD9B-429D-AA6D-886B90BFC1B0}" sibTransId="{675C229C-C117-43CF-80BB-923BEA49E9A2}"/>
    <dgm:cxn modelId="{2E3BCFEB-E2B0-4BEE-A743-EC5260E7B96F}" srcId="{C92367BE-42B2-41FC-9D5D-81C703873A6C}" destId="{5D56CD02-A2BC-443B-9839-05F3EDC7DFAD}" srcOrd="0" destOrd="0" parTransId="{70F0512C-F95F-43D2-B2AD-4C6F1A61FA04}" sibTransId="{76792793-12D9-4915-99EA-9144599F5667}"/>
    <dgm:cxn modelId="{926792F0-C2CC-4321-B0B8-AE2FB75EF328}" type="presOf" srcId="{45A6B919-7918-4F5C-B79C-AABFF51C3C00}" destId="{AA41DACC-BED1-409C-998C-9C41D106365B}" srcOrd="0" destOrd="1" presId="urn:microsoft.com/office/officeart/2005/8/layout/default"/>
    <dgm:cxn modelId="{CAC037E3-666F-45C7-8630-BCCC9E3CF003}" type="presParOf" srcId="{F5E55C55-7E9D-4ED8-A16C-DCB290C5E378}" destId="{595DF344-35E6-45CF-87CA-F9D1EEF3C361}" srcOrd="0" destOrd="0" presId="urn:microsoft.com/office/officeart/2005/8/layout/default"/>
    <dgm:cxn modelId="{55A1DD93-6449-4863-A540-B0B7731D6306}" type="presParOf" srcId="{F5E55C55-7E9D-4ED8-A16C-DCB290C5E378}" destId="{B3FE5DE6-E4EC-4C7F-A0EB-7B7391A15E02}" srcOrd="1" destOrd="0" presId="urn:microsoft.com/office/officeart/2005/8/layout/default"/>
    <dgm:cxn modelId="{1AA34008-D283-4859-835F-FB27B0CAE0CE}" type="presParOf" srcId="{F5E55C55-7E9D-4ED8-A16C-DCB290C5E378}" destId="{D76CB94C-B9A5-4CB8-9B23-EE8EA317BD5F}" srcOrd="2" destOrd="0" presId="urn:microsoft.com/office/officeart/2005/8/layout/default"/>
    <dgm:cxn modelId="{B18D6D04-E34C-4BB1-829A-F26B592CFB58}" type="presParOf" srcId="{F5E55C55-7E9D-4ED8-A16C-DCB290C5E378}" destId="{A58ECB5A-0654-4BD2-8B71-863E5B19A918}" srcOrd="3" destOrd="0" presId="urn:microsoft.com/office/officeart/2005/8/layout/default"/>
    <dgm:cxn modelId="{954D9D06-86B5-4FF0-ADC3-F6647E0F3B3A}" type="presParOf" srcId="{F5E55C55-7E9D-4ED8-A16C-DCB290C5E378}" destId="{AA41DACC-BED1-409C-998C-9C41D106365B}" srcOrd="4"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2A80E6D-0895-4610-9C96-CD21BA1401BA}" type="doc">
      <dgm:prSet loTypeId="urn:microsoft.com/office/officeart/2005/8/layout/default" loCatId="list" qsTypeId="urn:microsoft.com/office/officeart/2005/8/quickstyle/simple1" qsCatId="simple" csTypeId="urn:microsoft.com/office/officeart/2005/8/colors/accent3_2" csCatId="accent3" phldr="1"/>
      <dgm:spPr/>
      <dgm:t>
        <a:bodyPr/>
        <a:lstStyle/>
        <a:p>
          <a:endParaRPr lang="en-US"/>
        </a:p>
      </dgm:t>
    </dgm:pt>
    <dgm:pt modelId="{AC712542-034A-4D02-9102-E992D3CEA653}">
      <dgm:prSet custT="1"/>
      <dgm:spPr>
        <a:solidFill>
          <a:srgbClr val="0C5D0C"/>
        </a:solidFill>
      </dgm:spPr>
      <dgm:t>
        <a:bodyPr/>
        <a:lstStyle/>
        <a:p>
          <a:r>
            <a:rPr lang="en-AU" sz="2000" b="1" dirty="0"/>
            <a:t>For</a:t>
          </a:r>
          <a:endParaRPr lang="en-US" sz="2000" b="1" dirty="0"/>
        </a:p>
      </dgm:t>
    </dgm:pt>
    <dgm:pt modelId="{31FA301B-24D6-4400-BCB5-DFBE5C9B60CF}" type="parTrans" cxnId="{B6E029A3-3360-44B7-932D-D23907724721}">
      <dgm:prSet/>
      <dgm:spPr/>
      <dgm:t>
        <a:bodyPr/>
        <a:lstStyle/>
        <a:p>
          <a:endParaRPr lang="en-US"/>
        </a:p>
      </dgm:t>
    </dgm:pt>
    <dgm:pt modelId="{6A9F68B5-DE4F-440A-826E-C3D904BCDBA1}" type="sibTrans" cxnId="{B6E029A3-3360-44B7-932D-D23907724721}">
      <dgm:prSet/>
      <dgm:spPr/>
      <dgm:t>
        <a:bodyPr/>
        <a:lstStyle/>
        <a:p>
          <a:endParaRPr lang="en-US"/>
        </a:p>
      </dgm:t>
    </dgm:pt>
    <dgm:pt modelId="{0D3708A6-FAC8-41E8-BA24-3D2DBB6E1946}">
      <dgm:prSet custT="1"/>
      <dgm:spPr>
        <a:solidFill>
          <a:srgbClr val="0C5D0C"/>
        </a:solidFill>
      </dgm:spPr>
      <dgm:t>
        <a:bodyPr/>
        <a:lstStyle/>
        <a:p>
          <a:r>
            <a:rPr lang="en-AU" sz="2000" dirty="0"/>
            <a:t>Initialization, condition and increment up front </a:t>
          </a:r>
          <a:endParaRPr lang="en-US" sz="2000" dirty="0"/>
        </a:p>
      </dgm:t>
    </dgm:pt>
    <dgm:pt modelId="{4449EFA1-9373-4024-BD79-4C0DB15B29C7}" type="parTrans" cxnId="{3A460BC2-59F5-41F7-9737-CB173FFAFBD2}">
      <dgm:prSet/>
      <dgm:spPr/>
      <dgm:t>
        <a:bodyPr/>
        <a:lstStyle/>
        <a:p>
          <a:endParaRPr lang="en-US"/>
        </a:p>
      </dgm:t>
    </dgm:pt>
    <dgm:pt modelId="{DF5C2D82-8E01-4B1C-A65A-9C37AA61D55C}" type="sibTrans" cxnId="{3A460BC2-59F5-41F7-9737-CB173FFAFBD2}">
      <dgm:prSet/>
      <dgm:spPr/>
      <dgm:t>
        <a:bodyPr/>
        <a:lstStyle/>
        <a:p>
          <a:endParaRPr lang="en-US"/>
        </a:p>
      </dgm:t>
    </dgm:pt>
    <dgm:pt modelId="{D5E8792E-185C-4BB0-8222-8FF8B034E857}">
      <dgm:prSet custT="1"/>
      <dgm:spPr>
        <a:solidFill>
          <a:srgbClr val="6B2929"/>
        </a:solidFill>
      </dgm:spPr>
      <dgm:t>
        <a:bodyPr/>
        <a:lstStyle/>
        <a:p>
          <a:r>
            <a:rPr lang="en-AU" sz="2000" b="1" dirty="0"/>
            <a:t>Foreach</a:t>
          </a:r>
          <a:endParaRPr lang="en-US" sz="2000" b="1" dirty="0"/>
        </a:p>
      </dgm:t>
    </dgm:pt>
    <dgm:pt modelId="{849F0EE4-4028-4353-977C-C658B99F7765}" type="sibTrans" cxnId="{4362DB2F-51C0-489C-B986-BEF186C2B16A}">
      <dgm:prSet/>
      <dgm:spPr/>
      <dgm:t>
        <a:bodyPr/>
        <a:lstStyle/>
        <a:p>
          <a:endParaRPr lang="en-US"/>
        </a:p>
      </dgm:t>
    </dgm:pt>
    <dgm:pt modelId="{EC00A3FC-707C-4F74-A980-C010054EF421}" type="parTrans" cxnId="{4362DB2F-51C0-489C-B986-BEF186C2B16A}">
      <dgm:prSet/>
      <dgm:spPr/>
      <dgm:t>
        <a:bodyPr/>
        <a:lstStyle/>
        <a:p>
          <a:endParaRPr lang="en-US"/>
        </a:p>
      </dgm:t>
    </dgm:pt>
    <dgm:pt modelId="{041F20EA-471C-4259-9E13-589B25748176}">
      <dgm:prSet custT="1"/>
      <dgm:spPr>
        <a:solidFill>
          <a:srgbClr val="6B2929"/>
        </a:solidFill>
      </dgm:spPr>
      <dgm:t>
        <a:bodyPr/>
        <a:lstStyle/>
        <a:p>
          <a:r>
            <a:rPr lang="en-AU" sz="2000" b="1" dirty="0"/>
            <a:t>Enumeration</a:t>
          </a:r>
          <a:r>
            <a:rPr lang="en-AU" sz="2000" dirty="0"/>
            <a:t> loop, runs code for each item in collection/array</a:t>
          </a:r>
          <a:endParaRPr lang="en-US" sz="2000" dirty="0"/>
        </a:p>
      </dgm:t>
    </dgm:pt>
    <dgm:pt modelId="{5893896B-3FAC-4048-BE45-D9F0D7612F32}" type="sibTrans" cxnId="{80EAA937-477F-4918-8664-67EE838E6F8F}">
      <dgm:prSet/>
      <dgm:spPr/>
      <dgm:t>
        <a:bodyPr/>
        <a:lstStyle/>
        <a:p>
          <a:endParaRPr lang="en-US"/>
        </a:p>
      </dgm:t>
    </dgm:pt>
    <dgm:pt modelId="{578DCC6C-5A81-4AC0-AA0E-5CAA830D19F7}" type="parTrans" cxnId="{80EAA937-477F-4918-8664-67EE838E6F8F}">
      <dgm:prSet/>
      <dgm:spPr/>
      <dgm:t>
        <a:bodyPr/>
        <a:lstStyle/>
        <a:p>
          <a:endParaRPr lang="en-US"/>
        </a:p>
      </dgm:t>
    </dgm:pt>
    <dgm:pt modelId="{F5E55C55-7E9D-4ED8-A16C-DCB290C5E378}" type="pres">
      <dgm:prSet presAssocID="{E2A80E6D-0895-4610-9C96-CD21BA1401BA}" presName="diagram" presStyleCnt="0">
        <dgm:presLayoutVars>
          <dgm:dir/>
          <dgm:resizeHandles val="exact"/>
        </dgm:presLayoutVars>
      </dgm:prSet>
      <dgm:spPr/>
    </dgm:pt>
    <dgm:pt modelId="{400F4470-8829-48E5-81C2-6F555D208D1D}" type="pres">
      <dgm:prSet presAssocID="{AC712542-034A-4D02-9102-E992D3CEA653}" presName="node" presStyleLbl="node1" presStyleIdx="0" presStyleCnt="2" custScaleX="213837" custScaleY="68012">
        <dgm:presLayoutVars>
          <dgm:bulletEnabled val="1"/>
        </dgm:presLayoutVars>
      </dgm:prSet>
      <dgm:spPr/>
    </dgm:pt>
    <dgm:pt modelId="{26469852-AB4C-4409-B9BB-12DE43586080}" type="pres">
      <dgm:prSet presAssocID="{6A9F68B5-DE4F-440A-826E-C3D904BCDBA1}" presName="sibTrans" presStyleCnt="0"/>
      <dgm:spPr/>
    </dgm:pt>
    <dgm:pt modelId="{21E5C8B7-AA84-451A-8133-BCC6CA78FDFE}" type="pres">
      <dgm:prSet presAssocID="{D5E8792E-185C-4BB0-8222-8FF8B034E857}" presName="node" presStyleLbl="node1" presStyleIdx="1" presStyleCnt="2" custScaleX="213837" custScaleY="68012">
        <dgm:presLayoutVars>
          <dgm:bulletEnabled val="1"/>
        </dgm:presLayoutVars>
      </dgm:prSet>
      <dgm:spPr/>
    </dgm:pt>
  </dgm:ptLst>
  <dgm:cxnLst>
    <dgm:cxn modelId="{4362DB2F-51C0-489C-B986-BEF186C2B16A}" srcId="{E2A80E6D-0895-4610-9C96-CD21BA1401BA}" destId="{D5E8792E-185C-4BB0-8222-8FF8B034E857}" srcOrd="1" destOrd="0" parTransId="{EC00A3FC-707C-4F74-A980-C010054EF421}" sibTransId="{849F0EE4-4028-4353-977C-C658B99F7765}"/>
    <dgm:cxn modelId="{80EAA937-477F-4918-8664-67EE838E6F8F}" srcId="{D5E8792E-185C-4BB0-8222-8FF8B034E857}" destId="{041F20EA-471C-4259-9E13-589B25748176}" srcOrd="0" destOrd="0" parTransId="{578DCC6C-5A81-4AC0-AA0E-5CAA830D19F7}" sibTransId="{5893896B-3FAC-4048-BE45-D9F0D7612F32}"/>
    <dgm:cxn modelId="{3708913E-E0E8-4A00-9E1C-403792E0B6C0}" type="presOf" srcId="{0D3708A6-FAC8-41E8-BA24-3D2DBB6E1946}" destId="{400F4470-8829-48E5-81C2-6F555D208D1D}" srcOrd="0" destOrd="1" presId="urn:microsoft.com/office/officeart/2005/8/layout/default"/>
    <dgm:cxn modelId="{A2A23069-6219-4435-92F2-9EBEA8612520}" type="presOf" srcId="{D5E8792E-185C-4BB0-8222-8FF8B034E857}" destId="{21E5C8B7-AA84-451A-8133-BCC6CA78FDFE}" srcOrd="0" destOrd="0" presId="urn:microsoft.com/office/officeart/2005/8/layout/default"/>
    <dgm:cxn modelId="{B6E029A3-3360-44B7-932D-D23907724721}" srcId="{E2A80E6D-0895-4610-9C96-CD21BA1401BA}" destId="{AC712542-034A-4D02-9102-E992D3CEA653}" srcOrd="0" destOrd="0" parTransId="{31FA301B-24D6-4400-BCB5-DFBE5C9B60CF}" sibTransId="{6A9F68B5-DE4F-440A-826E-C3D904BCDBA1}"/>
    <dgm:cxn modelId="{15B986AA-B32A-4072-9911-7B83EC5DBC95}" type="presOf" srcId="{E2A80E6D-0895-4610-9C96-CD21BA1401BA}" destId="{F5E55C55-7E9D-4ED8-A16C-DCB290C5E378}" srcOrd="0" destOrd="0" presId="urn:microsoft.com/office/officeart/2005/8/layout/default"/>
    <dgm:cxn modelId="{330B64B3-6292-41DE-9E84-67FABBB2862C}" type="presOf" srcId="{AC712542-034A-4D02-9102-E992D3CEA653}" destId="{400F4470-8829-48E5-81C2-6F555D208D1D}" srcOrd="0" destOrd="0" presId="urn:microsoft.com/office/officeart/2005/8/layout/default"/>
    <dgm:cxn modelId="{3A460BC2-59F5-41F7-9737-CB173FFAFBD2}" srcId="{AC712542-034A-4D02-9102-E992D3CEA653}" destId="{0D3708A6-FAC8-41E8-BA24-3D2DBB6E1946}" srcOrd="0" destOrd="0" parTransId="{4449EFA1-9373-4024-BD79-4C0DB15B29C7}" sibTransId="{DF5C2D82-8E01-4B1C-A65A-9C37AA61D55C}"/>
    <dgm:cxn modelId="{43B676F5-707D-4CF4-8E57-77D51E6F8AD3}" type="presOf" srcId="{041F20EA-471C-4259-9E13-589B25748176}" destId="{21E5C8B7-AA84-451A-8133-BCC6CA78FDFE}" srcOrd="0" destOrd="1" presId="urn:microsoft.com/office/officeart/2005/8/layout/default"/>
    <dgm:cxn modelId="{C704DC6A-E7A0-4241-9783-665802C3F8CD}" type="presParOf" srcId="{F5E55C55-7E9D-4ED8-A16C-DCB290C5E378}" destId="{400F4470-8829-48E5-81C2-6F555D208D1D}" srcOrd="0" destOrd="0" presId="urn:microsoft.com/office/officeart/2005/8/layout/default"/>
    <dgm:cxn modelId="{F9AF4AF7-68CE-4CA3-AC03-B1FFD20E7653}" type="presParOf" srcId="{F5E55C55-7E9D-4ED8-A16C-DCB290C5E378}" destId="{26469852-AB4C-4409-B9BB-12DE43586080}" srcOrd="1" destOrd="0" presId="urn:microsoft.com/office/officeart/2005/8/layout/default"/>
    <dgm:cxn modelId="{FD15C250-67FF-41D6-BBBC-B4688D7411EF}" type="presParOf" srcId="{F5E55C55-7E9D-4ED8-A16C-DCB290C5E378}" destId="{21E5C8B7-AA84-451A-8133-BCC6CA78FDFE}" srcOrd="2" destOrd="0" presId="urn:microsoft.com/office/officeart/2005/8/layout/defaul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2A80E6D-0895-4610-9C96-CD21BA1401BA}" type="doc">
      <dgm:prSet loTypeId="urn:microsoft.com/office/officeart/2005/8/layout/hierarchy3" loCatId="list" qsTypeId="urn:microsoft.com/office/officeart/2005/8/quickstyle/simple1" qsCatId="simple" csTypeId="urn:microsoft.com/office/officeart/2005/8/colors/accent2_2" csCatId="accent2" phldr="1"/>
      <dgm:spPr/>
      <dgm:t>
        <a:bodyPr/>
        <a:lstStyle/>
        <a:p>
          <a:endParaRPr lang="en-US"/>
        </a:p>
      </dgm:t>
    </dgm:pt>
    <dgm:pt modelId="{0D3708A6-FAC8-41E8-BA24-3D2DBB6E1946}">
      <dgm:prSet custT="1"/>
      <dgm:spPr/>
      <dgm:t>
        <a:bodyPr/>
        <a:lstStyle/>
        <a:p>
          <a:r>
            <a:rPr lang="en-AU" sz="2000" b="1" baseline="0"/>
            <a:t>If…Elseif...Else</a:t>
          </a:r>
          <a:endParaRPr lang="en-US" sz="2000" dirty="0"/>
        </a:p>
      </dgm:t>
    </dgm:pt>
    <dgm:pt modelId="{4449EFA1-9373-4024-BD79-4C0DB15B29C7}" type="parTrans" cxnId="{3A460BC2-59F5-41F7-9737-CB173FFAFBD2}">
      <dgm:prSet/>
      <dgm:spPr/>
      <dgm:t>
        <a:bodyPr/>
        <a:lstStyle/>
        <a:p>
          <a:endParaRPr lang="en-US"/>
        </a:p>
      </dgm:t>
    </dgm:pt>
    <dgm:pt modelId="{DF5C2D82-8E01-4B1C-A65A-9C37AA61D55C}" type="sibTrans" cxnId="{3A460BC2-59F5-41F7-9737-CB173FFAFBD2}">
      <dgm:prSet/>
      <dgm:spPr/>
      <dgm:t>
        <a:bodyPr/>
        <a:lstStyle/>
        <a:p>
          <a:endParaRPr lang="en-US"/>
        </a:p>
      </dgm:t>
    </dgm:pt>
    <dgm:pt modelId="{46700AC9-AEB9-4144-81FB-526B62AB2628}">
      <dgm:prSet custT="1"/>
      <dgm:spPr/>
      <dgm:t>
        <a:bodyPr/>
        <a:lstStyle/>
        <a:p>
          <a:r>
            <a:rPr lang="en-AU" sz="2000" b="0" baseline="0" dirty="0"/>
            <a:t>Conditional, runs </a:t>
          </a:r>
          <a:r>
            <a:rPr lang="en-AU" sz="2000" b="1" baseline="0" dirty="0"/>
            <a:t>the first code block </a:t>
          </a:r>
          <a:r>
            <a:rPr lang="en-AU" sz="2000" b="0" baseline="0" dirty="0"/>
            <a:t>with a $True condition</a:t>
          </a:r>
          <a:endParaRPr lang="en-US" sz="2000" b="0" dirty="0"/>
        </a:p>
      </dgm:t>
    </dgm:pt>
    <dgm:pt modelId="{B27DC245-B96F-42C9-8516-40972CC37430}" type="parTrans" cxnId="{AABA0582-F500-41CD-9C74-2D2C9BDCEE68}">
      <dgm:prSet/>
      <dgm:spPr/>
      <dgm:t>
        <a:bodyPr/>
        <a:lstStyle/>
        <a:p>
          <a:endParaRPr lang="en-US"/>
        </a:p>
      </dgm:t>
    </dgm:pt>
    <dgm:pt modelId="{6EC13CD9-2318-486F-ADBE-5F5B3C127484}" type="sibTrans" cxnId="{AABA0582-F500-41CD-9C74-2D2C9BDCEE68}">
      <dgm:prSet/>
      <dgm:spPr/>
      <dgm:t>
        <a:bodyPr/>
        <a:lstStyle/>
        <a:p>
          <a:endParaRPr lang="en-US"/>
        </a:p>
      </dgm:t>
    </dgm:pt>
    <dgm:pt modelId="{A32A4D2C-899C-4964-AE23-AD7D50D96E0E}" type="pres">
      <dgm:prSet presAssocID="{E2A80E6D-0895-4610-9C96-CD21BA1401BA}" presName="diagram" presStyleCnt="0">
        <dgm:presLayoutVars>
          <dgm:chPref val="1"/>
          <dgm:dir/>
          <dgm:animOne val="branch"/>
          <dgm:animLvl val="lvl"/>
          <dgm:resizeHandles/>
        </dgm:presLayoutVars>
      </dgm:prSet>
      <dgm:spPr/>
    </dgm:pt>
    <dgm:pt modelId="{39F1DB57-8178-44BE-A863-03078DA93A72}" type="pres">
      <dgm:prSet presAssocID="{0D3708A6-FAC8-41E8-BA24-3D2DBB6E1946}" presName="root" presStyleCnt="0"/>
      <dgm:spPr/>
    </dgm:pt>
    <dgm:pt modelId="{B0A61617-5DDB-4F5D-BF51-D6CD99A47708}" type="pres">
      <dgm:prSet presAssocID="{0D3708A6-FAC8-41E8-BA24-3D2DBB6E1946}" presName="rootComposite" presStyleCnt="0"/>
      <dgm:spPr/>
    </dgm:pt>
    <dgm:pt modelId="{5E01ABE0-4290-4D5D-BC2D-4C2D60C4A2F7}" type="pres">
      <dgm:prSet presAssocID="{0D3708A6-FAC8-41E8-BA24-3D2DBB6E1946}" presName="rootText" presStyleLbl="node1" presStyleIdx="0" presStyleCnt="1" custScaleX="76283" custScaleY="20843"/>
      <dgm:spPr/>
    </dgm:pt>
    <dgm:pt modelId="{946767A1-6290-46E0-82D7-29E360106A2D}" type="pres">
      <dgm:prSet presAssocID="{0D3708A6-FAC8-41E8-BA24-3D2DBB6E1946}" presName="rootConnector" presStyleLbl="node1" presStyleIdx="0" presStyleCnt="1"/>
      <dgm:spPr/>
    </dgm:pt>
    <dgm:pt modelId="{CDDE3DB3-E481-4E4F-AFAB-4CF6BA288383}" type="pres">
      <dgm:prSet presAssocID="{0D3708A6-FAC8-41E8-BA24-3D2DBB6E1946}" presName="childShape" presStyleCnt="0"/>
      <dgm:spPr/>
    </dgm:pt>
    <dgm:pt modelId="{4F9B4DDA-DB1B-4BEF-8632-DF10A8D33E9E}" type="pres">
      <dgm:prSet presAssocID="{B27DC245-B96F-42C9-8516-40972CC37430}" presName="Name13" presStyleLbl="parChTrans1D2" presStyleIdx="0" presStyleCnt="1"/>
      <dgm:spPr/>
    </dgm:pt>
    <dgm:pt modelId="{049C3789-2403-4F81-B67E-F53EF83B034A}" type="pres">
      <dgm:prSet presAssocID="{46700AC9-AEB9-4144-81FB-526B62AB2628}" presName="childText" presStyleLbl="bgAcc1" presStyleIdx="0" presStyleCnt="1" custScaleX="131744" custScaleY="34239" custLinFactNeighborX="-1244" custLinFactNeighborY="-19294">
        <dgm:presLayoutVars>
          <dgm:bulletEnabled val="1"/>
        </dgm:presLayoutVars>
      </dgm:prSet>
      <dgm:spPr/>
    </dgm:pt>
  </dgm:ptLst>
  <dgm:cxnLst>
    <dgm:cxn modelId="{28C68041-E449-47F3-95D8-EF4BBA3F4E5D}" type="presOf" srcId="{E2A80E6D-0895-4610-9C96-CD21BA1401BA}" destId="{A32A4D2C-899C-4964-AE23-AD7D50D96E0E}" srcOrd="0" destOrd="0" presId="urn:microsoft.com/office/officeart/2005/8/layout/hierarchy3"/>
    <dgm:cxn modelId="{DFCDCA6E-103D-43F2-A76C-F97BA6A26049}" type="presOf" srcId="{0D3708A6-FAC8-41E8-BA24-3D2DBB6E1946}" destId="{946767A1-6290-46E0-82D7-29E360106A2D}" srcOrd="1" destOrd="0" presId="urn:microsoft.com/office/officeart/2005/8/layout/hierarchy3"/>
    <dgm:cxn modelId="{FFEBAA77-CD2A-4515-A9DC-DFE0B999D9FD}" type="presOf" srcId="{46700AC9-AEB9-4144-81FB-526B62AB2628}" destId="{049C3789-2403-4F81-B67E-F53EF83B034A}" srcOrd="0" destOrd="0" presId="urn:microsoft.com/office/officeart/2005/8/layout/hierarchy3"/>
    <dgm:cxn modelId="{AABA0582-F500-41CD-9C74-2D2C9BDCEE68}" srcId="{0D3708A6-FAC8-41E8-BA24-3D2DBB6E1946}" destId="{46700AC9-AEB9-4144-81FB-526B62AB2628}" srcOrd="0" destOrd="0" parTransId="{B27DC245-B96F-42C9-8516-40972CC37430}" sibTransId="{6EC13CD9-2318-486F-ADBE-5F5B3C127484}"/>
    <dgm:cxn modelId="{4FCEB594-20C3-4961-A966-61E305643A21}" type="presOf" srcId="{0D3708A6-FAC8-41E8-BA24-3D2DBB6E1946}" destId="{5E01ABE0-4290-4D5D-BC2D-4C2D60C4A2F7}" srcOrd="0" destOrd="0" presId="urn:microsoft.com/office/officeart/2005/8/layout/hierarchy3"/>
    <dgm:cxn modelId="{50F6DF98-1FF7-478D-AC25-A6C0C1D83EE5}" type="presOf" srcId="{B27DC245-B96F-42C9-8516-40972CC37430}" destId="{4F9B4DDA-DB1B-4BEF-8632-DF10A8D33E9E}" srcOrd="0" destOrd="0" presId="urn:microsoft.com/office/officeart/2005/8/layout/hierarchy3"/>
    <dgm:cxn modelId="{3A460BC2-59F5-41F7-9737-CB173FFAFBD2}" srcId="{E2A80E6D-0895-4610-9C96-CD21BA1401BA}" destId="{0D3708A6-FAC8-41E8-BA24-3D2DBB6E1946}" srcOrd="0" destOrd="0" parTransId="{4449EFA1-9373-4024-BD79-4C0DB15B29C7}" sibTransId="{DF5C2D82-8E01-4B1C-A65A-9C37AA61D55C}"/>
    <dgm:cxn modelId="{55937EA6-643E-4E6F-9648-A216FC69C5B6}" type="presParOf" srcId="{A32A4D2C-899C-4964-AE23-AD7D50D96E0E}" destId="{39F1DB57-8178-44BE-A863-03078DA93A72}" srcOrd="0" destOrd="0" presId="urn:microsoft.com/office/officeart/2005/8/layout/hierarchy3"/>
    <dgm:cxn modelId="{474B60F9-8B88-421A-AB26-8CF77ED77A7A}" type="presParOf" srcId="{39F1DB57-8178-44BE-A863-03078DA93A72}" destId="{B0A61617-5DDB-4F5D-BF51-D6CD99A47708}" srcOrd="0" destOrd="0" presId="urn:microsoft.com/office/officeart/2005/8/layout/hierarchy3"/>
    <dgm:cxn modelId="{8F8F3E88-650D-4EA7-A965-313FC24A2887}" type="presParOf" srcId="{B0A61617-5DDB-4F5D-BF51-D6CD99A47708}" destId="{5E01ABE0-4290-4D5D-BC2D-4C2D60C4A2F7}" srcOrd="0" destOrd="0" presId="urn:microsoft.com/office/officeart/2005/8/layout/hierarchy3"/>
    <dgm:cxn modelId="{CAB74237-D9E9-435D-BBC7-C2E9B879BF47}" type="presParOf" srcId="{B0A61617-5DDB-4F5D-BF51-D6CD99A47708}" destId="{946767A1-6290-46E0-82D7-29E360106A2D}" srcOrd="1" destOrd="0" presId="urn:microsoft.com/office/officeart/2005/8/layout/hierarchy3"/>
    <dgm:cxn modelId="{ACC254A1-A342-4E16-9A5D-E9BABD40EF66}" type="presParOf" srcId="{39F1DB57-8178-44BE-A863-03078DA93A72}" destId="{CDDE3DB3-E481-4E4F-AFAB-4CF6BA288383}" srcOrd="1" destOrd="0" presId="urn:microsoft.com/office/officeart/2005/8/layout/hierarchy3"/>
    <dgm:cxn modelId="{8560A513-974F-4E8D-BFCC-00D2CEAE58D4}" type="presParOf" srcId="{CDDE3DB3-E481-4E4F-AFAB-4CF6BA288383}" destId="{4F9B4DDA-DB1B-4BEF-8632-DF10A8D33E9E}" srcOrd="0" destOrd="0" presId="urn:microsoft.com/office/officeart/2005/8/layout/hierarchy3"/>
    <dgm:cxn modelId="{AC6FE488-D4A9-4116-9D1A-3AF93CE32F4F}" type="presParOf" srcId="{CDDE3DB3-E481-4E4F-AFAB-4CF6BA288383}" destId="{049C3789-2403-4F81-B67E-F53EF83B034A}" srcOrd="1"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2E214F-7F54-4A43-AA1D-A58D42C0BD68}">
      <dsp:nvSpPr>
        <dsp:cNvPr id="0" name=""/>
        <dsp:cNvSpPr/>
      </dsp:nvSpPr>
      <dsp:spPr>
        <a:xfrm rot="10800000">
          <a:off x="1818338" y="0"/>
          <a:ext cx="9473484" cy="1122506"/>
        </a:xfrm>
        <a:prstGeom prst="homePlat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94994" tIns="114300" rIns="213360" bIns="114300" numCol="1" spcCol="1270" anchor="ctr" anchorCtr="0">
          <a:noAutofit/>
        </a:bodyPr>
        <a:lstStyle/>
        <a:p>
          <a:pPr marL="0" lvl="0" indent="0" algn="ctr" defTabSz="1333500">
            <a:lnSpc>
              <a:spcPct val="90000"/>
            </a:lnSpc>
            <a:spcBef>
              <a:spcPct val="0"/>
            </a:spcBef>
            <a:spcAft>
              <a:spcPct val="35000"/>
            </a:spcAft>
            <a:buNone/>
          </a:pPr>
          <a:r>
            <a:rPr lang="en-US" sz="3000" kern="1200" baseline="0" dirty="0"/>
            <a:t>Cmdlets are written Verb-Noun</a:t>
          </a:r>
          <a:endParaRPr lang="en-US" sz="3000" kern="1200" dirty="0"/>
        </a:p>
      </dsp:txBody>
      <dsp:txXfrm rot="10800000">
        <a:off x="2098964" y="0"/>
        <a:ext cx="9192858" cy="1122506"/>
      </dsp:txXfrm>
    </dsp:sp>
    <dsp:sp modelId="{B228ABE7-96D5-4342-ABDF-6D30AFCB65DB}">
      <dsp:nvSpPr>
        <dsp:cNvPr id="0" name=""/>
        <dsp:cNvSpPr/>
      </dsp:nvSpPr>
      <dsp:spPr>
        <a:xfrm>
          <a:off x="1680522" y="434"/>
          <a:ext cx="1122506" cy="1122506"/>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957873F5-7C75-41A3-895E-9E37B5ED7759}">
      <dsp:nvSpPr>
        <dsp:cNvPr id="0" name=""/>
        <dsp:cNvSpPr/>
      </dsp:nvSpPr>
      <dsp:spPr>
        <a:xfrm rot="10800000">
          <a:off x="1818338" y="1458018"/>
          <a:ext cx="9473484" cy="1122506"/>
        </a:xfrm>
        <a:prstGeom prst="homePlat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94994" tIns="110490" rIns="206248" bIns="110490" numCol="1" spcCol="1270" anchor="ctr" anchorCtr="0">
          <a:noAutofit/>
        </a:bodyPr>
        <a:lstStyle/>
        <a:p>
          <a:pPr marL="0" lvl="0" indent="0" algn="ctr" defTabSz="1289050">
            <a:lnSpc>
              <a:spcPct val="90000"/>
            </a:lnSpc>
            <a:spcBef>
              <a:spcPct val="0"/>
            </a:spcBef>
            <a:spcAft>
              <a:spcPct val="35000"/>
            </a:spcAft>
            <a:buNone/>
          </a:pPr>
          <a:r>
            <a:rPr lang="en-US" sz="2900" kern="1200" baseline="0" dirty="0"/>
            <a:t>Parameters can accept data to change behavior</a:t>
          </a:r>
          <a:endParaRPr lang="en-US" sz="2900" kern="1200" dirty="0"/>
        </a:p>
      </dsp:txBody>
      <dsp:txXfrm rot="10800000">
        <a:off x="2098964" y="1458018"/>
        <a:ext cx="9192858" cy="1122506"/>
      </dsp:txXfrm>
    </dsp:sp>
    <dsp:sp modelId="{5EC120C6-01CE-444F-99EF-C8D23CC31510}">
      <dsp:nvSpPr>
        <dsp:cNvPr id="0" name=""/>
        <dsp:cNvSpPr/>
      </dsp:nvSpPr>
      <dsp:spPr>
        <a:xfrm>
          <a:off x="1680522" y="1458018"/>
          <a:ext cx="1122506" cy="1122506"/>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F12F396C-F7CB-4299-9DBD-BBA183A057B9}">
      <dsp:nvSpPr>
        <dsp:cNvPr id="0" name=""/>
        <dsp:cNvSpPr/>
      </dsp:nvSpPr>
      <dsp:spPr>
        <a:xfrm rot="10800000">
          <a:off x="1818338" y="2915601"/>
          <a:ext cx="9473484" cy="1122506"/>
        </a:xfrm>
        <a:prstGeom prst="homePlat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94994" tIns="110490" rIns="206248" bIns="110490" numCol="1" spcCol="1270" anchor="ctr" anchorCtr="0">
          <a:noAutofit/>
        </a:bodyPr>
        <a:lstStyle/>
        <a:p>
          <a:pPr marL="0" lvl="0" indent="0" algn="ctr" defTabSz="1289050">
            <a:lnSpc>
              <a:spcPct val="90000"/>
            </a:lnSpc>
            <a:spcBef>
              <a:spcPct val="0"/>
            </a:spcBef>
            <a:spcAft>
              <a:spcPct val="35000"/>
            </a:spcAft>
            <a:buNone/>
          </a:pPr>
          <a:r>
            <a:rPr lang="en-US" sz="2900" kern="1200" baseline="0" dirty="0"/>
            <a:t>View syntax with </a:t>
          </a:r>
          <a:r>
            <a:rPr lang="en-US" sz="2900" i="1" kern="1200" baseline="0" dirty="0"/>
            <a:t>Get-Command &lt;cmdlet&gt; -syntax</a:t>
          </a:r>
          <a:endParaRPr lang="en-US" sz="2900" kern="1200" dirty="0"/>
        </a:p>
      </dsp:txBody>
      <dsp:txXfrm rot="10800000">
        <a:off x="2098964" y="2915601"/>
        <a:ext cx="9192858" cy="1122506"/>
      </dsp:txXfrm>
    </dsp:sp>
    <dsp:sp modelId="{E7F29564-E0CC-45DE-B29F-0BB0CA71462C}">
      <dsp:nvSpPr>
        <dsp:cNvPr id="0" name=""/>
        <dsp:cNvSpPr/>
      </dsp:nvSpPr>
      <dsp:spPr>
        <a:xfrm>
          <a:off x="1680522" y="2915601"/>
          <a:ext cx="1122506" cy="1122506"/>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DBD3830E-3C5E-4BA5-9401-1F4B68497504}">
      <dsp:nvSpPr>
        <dsp:cNvPr id="0" name=""/>
        <dsp:cNvSpPr/>
      </dsp:nvSpPr>
      <dsp:spPr>
        <a:xfrm rot="10800000">
          <a:off x="1818338" y="4373185"/>
          <a:ext cx="9473484" cy="1122506"/>
        </a:xfrm>
        <a:prstGeom prst="homePlat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94994" tIns="110490" rIns="206248" bIns="110490" numCol="1" spcCol="1270" anchor="ctr" anchorCtr="0">
          <a:noAutofit/>
        </a:bodyPr>
        <a:lstStyle/>
        <a:p>
          <a:pPr marL="0" lvl="0" indent="0" algn="ctr" defTabSz="1289050">
            <a:lnSpc>
              <a:spcPct val="90000"/>
            </a:lnSpc>
            <a:spcBef>
              <a:spcPct val="0"/>
            </a:spcBef>
            <a:spcAft>
              <a:spcPct val="35000"/>
            </a:spcAft>
            <a:buNone/>
          </a:pPr>
          <a:r>
            <a:rPr lang="en-US" sz="2900" kern="1200" baseline="0" dirty="0"/>
            <a:t>Parameters can be positional </a:t>
          </a:r>
          <a:endParaRPr lang="en-US" sz="2900" kern="1200" dirty="0"/>
        </a:p>
      </dsp:txBody>
      <dsp:txXfrm rot="10800000">
        <a:off x="2098964" y="4373185"/>
        <a:ext cx="9192858" cy="1122506"/>
      </dsp:txXfrm>
    </dsp:sp>
    <dsp:sp modelId="{2679D3A3-6ECF-481D-963D-BA5BC440CE5B}">
      <dsp:nvSpPr>
        <dsp:cNvPr id="0" name=""/>
        <dsp:cNvSpPr/>
      </dsp:nvSpPr>
      <dsp:spPr>
        <a:xfrm>
          <a:off x="1680522" y="4373185"/>
          <a:ext cx="1122506" cy="1122506"/>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56A4E4-D8B7-4B2A-8122-71F82C7E8BA7}">
      <dsp:nvSpPr>
        <dsp:cNvPr id="0" name=""/>
        <dsp:cNvSpPr/>
      </dsp:nvSpPr>
      <dsp:spPr>
        <a:xfrm>
          <a:off x="1921" y="146771"/>
          <a:ext cx="2833547" cy="321773"/>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AU" sz="2000" b="1" kern="1200" baseline="0" dirty="0"/>
            <a:t>Switch</a:t>
          </a:r>
          <a:endParaRPr lang="en-US" sz="2000" kern="1200" dirty="0"/>
        </a:p>
      </dsp:txBody>
      <dsp:txXfrm>
        <a:off x="11345" y="156195"/>
        <a:ext cx="2814699" cy="302925"/>
      </dsp:txXfrm>
    </dsp:sp>
    <dsp:sp modelId="{43CEACEF-BFA8-43B6-96CF-D2C4F57520F3}">
      <dsp:nvSpPr>
        <dsp:cNvPr id="0" name=""/>
        <dsp:cNvSpPr/>
      </dsp:nvSpPr>
      <dsp:spPr>
        <a:xfrm>
          <a:off x="285276" y="468545"/>
          <a:ext cx="216238" cy="442707"/>
        </a:xfrm>
        <a:custGeom>
          <a:avLst/>
          <a:gdLst/>
          <a:ahLst/>
          <a:cxnLst/>
          <a:rect l="0" t="0" r="0" b="0"/>
          <a:pathLst>
            <a:path>
              <a:moveTo>
                <a:pt x="0" y="0"/>
              </a:moveTo>
              <a:lnTo>
                <a:pt x="0" y="442707"/>
              </a:lnTo>
              <a:lnTo>
                <a:pt x="216238" y="442707"/>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416F4C8-DB2D-40CF-8E80-540A2BBDF555}">
      <dsp:nvSpPr>
        <dsp:cNvPr id="0" name=""/>
        <dsp:cNvSpPr/>
      </dsp:nvSpPr>
      <dsp:spPr>
        <a:xfrm>
          <a:off x="501515" y="603701"/>
          <a:ext cx="5646217" cy="615103"/>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AU" sz="2000" kern="1200" baseline="0" dirty="0"/>
            <a:t>Conditional, runs </a:t>
          </a:r>
          <a:r>
            <a:rPr lang="en-AU" sz="2000" b="1" kern="1200" baseline="0" dirty="0"/>
            <a:t>all code blocks </a:t>
          </a:r>
          <a:r>
            <a:rPr lang="en-AU" sz="2000" kern="1200" baseline="0" dirty="0"/>
            <a:t>with a $True condition</a:t>
          </a:r>
          <a:endParaRPr lang="en-US" sz="2000" kern="1200" dirty="0"/>
        </a:p>
      </dsp:txBody>
      <dsp:txXfrm>
        <a:off x="519531" y="621717"/>
        <a:ext cx="5610185" cy="579071"/>
      </dsp:txXfrm>
    </dsp:sp>
    <dsp:sp modelId="{E4A68BB4-70A1-44D6-8888-D0B4A22BC90A}">
      <dsp:nvSpPr>
        <dsp:cNvPr id="0" name=""/>
        <dsp:cNvSpPr/>
      </dsp:nvSpPr>
      <dsp:spPr>
        <a:xfrm>
          <a:off x="285276" y="468545"/>
          <a:ext cx="202912" cy="1077963"/>
        </a:xfrm>
        <a:custGeom>
          <a:avLst/>
          <a:gdLst/>
          <a:ahLst/>
          <a:cxnLst/>
          <a:rect l="0" t="0" r="0" b="0"/>
          <a:pathLst>
            <a:path>
              <a:moveTo>
                <a:pt x="0" y="0"/>
              </a:moveTo>
              <a:lnTo>
                <a:pt x="0" y="1077963"/>
              </a:lnTo>
              <a:lnTo>
                <a:pt x="202912" y="1077963"/>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8E8AA5-E96B-4249-98A9-792DD2B8D365}">
      <dsp:nvSpPr>
        <dsp:cNvPr id="0" name=""/>
        <dsp:cNvSpPr/>
      </dsp:nvSpPr>
      <dsp:spPr>
        <a:xfrm>
          <a:off x="488189" y="1296540"/>
          <a:ext cx="5687286" cy="499936"/>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AU" sz="2000" kern="1200" baseline="0" dirty="0"/>
            <a:t>Supports </a:t>
          </a:r>
          <a:r>
            <a:rPr lang="en-AU" sz="2000" b="1" kern="1200" baseline="0" dirty="0"/>
            <a:t>$_</a:t>
          </a:r>
          <a:r>
            <a:rPr lang="en-AU" sz="2000" kern="1200" baseline="0" dirty="0"/>
            <a:t> and has innate Foreach</a:t>
          </a:r>
          <a:endParaRPr lang="en-US" sz="2000" kern="1200" dirty="0"/>
        </a:p>
      </dsp:txBody>
      <dsp:txXfrm>
        <a:off x="502832" y="1311183"/>
        <a:ext cx="5658000" cy="47065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0728D2-3965-4328-A180-647C109B1953}">
      <dsp:nvSpPr>
        <dsp:cNvPr id="0" name=""/>
        <dsp:cNvSpPr/>
      </dsp:nvSpPr>
      <dsp:spPr>
        <a:xfrm rot="5400000">
          <a:off x="-296131" y="298597"/>
          <a:ext cx="1974213" cy="138194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baseline="0" dirty="0"/>
            <a:t>Break</a:t>
          </a:r>
          <a:endParaRPr lang="en-US" sz="2400" kern="1200" dirty="0"/>
        </a:p>
      </dsp:txBody>
      <dsp:txXfrm rot="-5400000">
        <a:off x="2" y="693440"/>
        <a:ext cx="1381949" cy="592264"/>
      </dsp:txXfrm>
    </dsp:sp>
    <dsp:sp modelId="{8F5C2B07-5C9E-499F-8C2B-6CAA4AEB69D5}">
      <dsp:nvSpPr>
        <dsp:cNvPr id="0" name=""/>
        <dsp:cNvSpPr/>
      </dsp:nvSpPr>
      <dsp:spPr>
        <a:xfrm rot="5400000">
          <a:off x="5757238" y="-4372823"/>
          <a:ext cx="1283238" cy="10033816"/>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US" sz="2400" kern="1200" baseline="0" dirty="0"/>
            <a:t>Immediately exit </a:t>
          </a:r>
          <a:r>
            <a:rPr lang="en-US" sz="2400" b="1" kern="1200" baseline="0" dirty="0"/>
            <a:t>loop or switch</a:t>
          </a:r>
          <a:endParaRPr lang="en-US" sz="2400" kern="1200" dirty="0"/>
        </a:p>
      </dsp:txBody>
      <dsp:txXfrm rot="-5400000">
        <a:off x="1381950" y="65108"/>
        <a:ext cx="9971173" cy="1157952"/>
      </dsp:txXfrm>
    </dsp:sp>
    <dsp:sp modelId="{264B9474-8E39-412E-9E86-F968B4C18620}">
      <dsp:nvSpPr>
        <dsp:cNvPr id="0" name=""/>
        <dsp:cNvSpPr/>
      </dsp:nvSpPr>
      <dsp:spPr>
        <a:xfrm rot="5400000">
          <a:off x="-296131" y="2082131"/>
          <a:ext cx="1974213" cy="138194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baseline="0" dirty="0"/>
            <a:t>Continue</a:t>
          </a:r>
          <a:endParaRPr lang="en-US" sz="2400" kern="1200" dirty="0"/>
        </a:p>
      </dsp:txBody>
      <dsp:txXfrm rot="-5400000">
        <a:off x="2" y="2476974"/>
        <a:ext cx="1381949" cy="592264"/>
      </dsp:txXfrm>
    </dsp:sp>
    <dsp:sp modelId="{F6833D38-4AD4-4EFA-9FFF-0DCD2A358329}">
      <dsp:nvSpPr>
        <dsp:cNvPr id="0" name=""/>
        <dsp:cNvSpPr/>
      </dsp:nvSpPr>
      <dsp:spPr>
        <a:xfrm rot="5400000">
          <a:off x="5757238" y="-2589289"/>
          <a:ext cx="1283238" cy="10033816"/>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US" sz="2400" kern="1200" baseline="0" dirty="0"/>
            <a:t>Immediately go to the top of a </a:t>
          </a:r>
          <a:r>
            <a:rPr lang="en-US" sz="2400" b="1" kern="1200" baseline="0" dirty="0"/>
            <a:t>loop or switch</a:t>
          </a:r>
          <a:endParaRPr lang="en-US" sz="2400" kern="1200" dirty="0"/>
        </a:p>
      </dsp:txBody>
      <dsp:txXfrm rot="-5400000">
        <a:off x="1381950" y="1848642"/>
        <a:ext cx="9971173" cy="1157952"/>
      </dsp:txXfrm>
    </dsp:sp>
    <dsp:sp modelId="{039526B2-36F2-4504-A204-22DE8DADE731}">
      <dsp:nvSpPr>
        <dsp:cNvPr id="0" name=""/>
        <dsp:cNvSpPr/>
      </dsp:nvSpPr>
      <dsp:spPr>
        <a:xfrm rot="5400000">
          <a:off x="-296131" y="3865665"/>
          <a:ext cx="1974213" cy="138194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baseline="0" dirty="0"/>
            <a:t>Return</a:t>
          </a:r>
          <a:endParaRPr lang="en-US" sz="2400" kern="1200" dirty="0"/>
        </a:p>
      </dsp:txBody>
      <dsp:txXfrm rot="-5400000">
        <a:off x="2" y="4260508"/>
        <a:ext cx="1381949" cy="592264"/>
      </dsp:txXfrm>
    </dsp:sp>
    <dsp:sp modelId="{B33E035E-932B-4D9E-B57A-F558115BF1F3}">
      <dsp:nvSpPr>
        <dsp:cNvPr id="0" name=""/>
        <dsp:cNvSpPr/>
      </dsp:nvSpPr>
      <dsp:spPr>
        <a:xfrm rot="5400000">
          <a:off x="5757238" y="-805755"/>
          <a:ext cx="1283238" cy="10033816"/>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US" sz="2400" kern="1200" baseline="0" dirty="0"/>
            <a:t>Immediately exit nearest </a:t>
          </a:r>
          <a:r>
            <a:rPr lang="en-US" sz="2400" b="1" kern="1200" baseline="0" dirty="0"/>
            <a:t>function</a:t>
          </a:r>
          <a:r>
            <a:rPr lang="en-US" sz="2400" kern="1200" baseline="0" dirty="0"/>
            <a:t>, </a:t>
          </a:r>
          <a:r>
            <a:rPr lang="en-US" sz="2400" b="1" kern="1200" baseline="0" dirty="0"/>
            <a:t>script block</a:t>
          </a:r>
          <a:r>
            <a:rPr lang="en-US" sz="2400" kern="1200" baseline="0" dirty="0"/>
            <a:t>, or </a:t>
          </a:r>
          <a:r>
            <a:rPr lang="en-US" sz="2400" b="1" kern="1200" baseline="0" dirty="0"/>
            <a:t>script</a:t>
          </a:r>
          <a:r>
            <a:rPr lang="en-US" sz="2400" kern="1200" baseline="0" dirty="0"/>
            <a:t> scope</a:t>
          </a:r>
          <a:endParaRPr lang="en-US" sz="2400" kern="1200" dirty="0"/>
        </a:p>
      </dsp:txBody>
      <dsp:txXfrm rot="-5400000">
        <a:off x="1381950" y="3632176"/>
        <a:ext cx="9971173" cy="115795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D3E2FE-2ECA-4A6D-8860-B93312F166CC}">
      <dsp:nvSpPr>
        <dsp:cNvPr id="0" name=""/>
        <dsp:cNvSpPr/>
      </dsp:nvSpPr>
      <dsp:spPr>
        <a:xfrm>
          <a:off x="0" y="322"/>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C11694-33A8-4878-AB13-1913B3206BDB}">
      <dsp:nvSpPr>
        <dsp:cNvPr id="0" name=""/>
        <dsp:cNvSpPr/>
      </dsp:nvSpPr>
      <dsp:spPr>
        <a:xfrm>
          <a:off x="0" y="322"/>
          <a:ext cx="10880726" cy="5278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baseline="0"/>
            <a:t>Collection (holds other objects) providing </a:t>
          </a:r>
          <a:r>
            <a:rPr lang="en-US" sz="2300" b="1" kern="1200" baseline="0"/>
            <a:t>constant</a:t>
          </a:r>
          <a:r>
            <a:rPr lang="en-US" sz="2300" kern="1200" baseline="0"/>
            <a:t> </a:t>
          </a:r>
          <a:r>
            <a:rPr lang="en-US" sz="2300" b="1" kern="1200" baseline="0"/>
            <a:t>search</a:t>
          </a:r>
          <a:r>
            <a:rPr lang="en-US" sz="2300" kern="1200" baseline="0"/>
            <a:t> </a:t>
          </a:r>
          <a:r>
            <a:rPr lang="en-US" sz="2300" b="1" kern="1200" baseline="0"/>
            <a:t>time</a:t>
          </a:r>
          <a:endParaRPr lang="en-US" sz="2300" kern="1200"/>
        </a:p>
      </dsp:txBody>
      <dsp:txXfrm>
        <a:off x="0" y="322"/>
        <a:ext cx="10880726" cy="527837"/>
      </dsp:txXfrm>
    </dsp:sp>
    <dsp:sp modelId="{23B1F33F-5D58-48E6-B3F0-A5B1CCF918E6}">
      <dsp:nvSpPr>
        <dsp:cNvPr id="0" name=""/>
        <dsp:cNvSpPr/>
      </dsp:nvSpPr>
      <dsp:spPr>
        <a:xfrm>
          <a:off x="0" y="528159"/>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94ACAF-2A8D-491F-8524-3AEBF53A0344}">
      <dsp:nvSpPr>
        <dsp:cNvPr id="0" name=""/>
        <dsp:cNvSpPr/>
      </dsp:nvSpPr>
      <dsp:spPr>
        <a:xfrm>
          <a:off x="0" y="528159"/>
          <a:ext cx="10880726" cy="5278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baseline="0" dirty="0"/>
            <a:t>Lookup table, uses a selected </a:t>
          </a:r>
          <a:r>
            <a:rPr lang="en-US" sz="2300" b="1" kern="1200" baseline="0" dirty="0"/>
            <a:t>Key</a:t>
          </a:r>
          <a:r>
            <a:rPr lang="en-US" sz="2300" kern="1200" baseline="0" dirty="0"/>
            <a:t> to find a specific </a:t>
          </a:r>
          <a:r>
            <a:rPr lang="en-US" sz="2300" b="1" kern="1200" baseline="0" dirty="0"/>
            <a:t>Value</a:t>
          </a:r>
          <a:endParaRPr lang="en-US" sz="2300" kern="1200" dirty="0"/>
        </a:p>
      </dsp:txBody>
      <dsp:txXfrm>
        <a:off x="0" y="528159"/>
        <a:ext cx="10880726" cy="527837"/>
      </dsp:txXfrm>
    </dsp:sp>
    <dsp:sp modelId="{BFEB235E-6ED0-49F3-B9CB-10BDD4E5AAEA}">
      <dsp:nvSpPr>
        <dsp:cNvPr id="0" name=""/>
        <dsp:cNvSpPr/>
      </dsp:nvSpPr>
      <dsp:spPr>
        <a:xfrm>
          <a:off x="0" y="1055997"/>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2AD4AF-3EBB-4758-9EE4-A7CEB240AA94}">
      <dsp:nvSpPr>
        <dsp:cNvPr id="0" name=""/>
        <dsp:cNvSpPr/>
      </dsp:nvSpPr>
      <dsp:spPr>
        <a:xfrm>
          <a:off x="0" y="1055997"/>
          <a:ext cx="10880726" cy="5278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baseline="0"/>
            <a:t>Created with </a:t>
          </a:r>
          <a:r>
            <a:rPr lang="en-US" sz="2300" b="1" kern="1200" baseline="0"/>
            <a:t>@{}</a:t>
          </a:r>
          <a:endParaRPr lang="en-US" sz="2300" kern="1200"/>
        </a:p>
      </dsp:txBody>
      <dsp:txXfrm>
        <a:off x="0" y="1055997"/>
        <a:ext cx="10880726" cy="527837"/>
      </dsp:txXfrm>
    </dsp:sp>
    <dsp:sp modelId="{EBD09BA3-CA87-4BB3-9659-1326E72BF782}">
      <dsp:nvSpPr>
        <dsp:cNvPr id="0" name=""/>
        <dsp:cNvSpPr/>
      </dsp:nvSpPr>
      <dsp:spPr>
        <a:xfrm>
          <a:off x="0" y="1583835"/>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56C3884-7877-4FC6-A279-2C5F4EE7ADC4}">
      <dsp:nvSpPr>
        <dsp:cNvPr id="0" name=""/>
        <dsp:cNvSpPr/>
      </dsp:nvSpPr>
      <dsp:spPr>
        <a:xfrm>
          <a:off x="0" y="1583835"/>
          <a:ext cx="10880726" cy="5278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baseline="0"/>
            <a:t>Easy to add to, and grows </a:t>
          </a:r>
          <a:r>
            <a:rPr lang="en-US" sz="2300" b="1" kern="1200" baseline="0"/>
            <a:t>efficiently</a:t>
          </a:r>
          <a:endParaRPr lang="en-US" sz="2300" kern="1200"/>
        </a:p>
      </dsp:txBody>
      <dsp:txXfrm>
        <a:off x="0" y="1583835"/>
        <a:ext cx="10880726" cy="527837"/>
      </dsp:txXfrm>
    </dsp:sp>
    <dsp:sp modelId="{FC72D1D8-CD4F-477E-ACD1-908BAA1E4D6F}">
      <dsp:nvSpPr>
        <dsp:cNvPr id="0" name=""/>
        <dsp:cNvSpPr/>
      </dsp:nvSpPr>
      <dsp:spPr>
        <a:xfrm>
          <a:off x="0" y="2111673"/>
          <a:ext cx="1088072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57E250-70FF-4515-923D-C17F6753BDA3}">
      <dsp:nvSpPr>
        <dsp:cNvPr id="0" name=""/>
        <dsp:cNvSpPr/>
      </dsp:nvSpPr>
      <dsp:spPr>
        <a:xfrm>
          <a:off x="0" y="2111673"/>
          <a:ext cx="10880726" cy="5278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baseline="0" dirty="0"/>
            <a:t>Useful for </a:t>
          </a:r>
          <a:r>
            <a:rPr lang="en-US" sz="2300" b="1" kern="1200" baseline="0" dirty="0"/>
            <a:t>creating </a:t>
          </a:r>
          <a:r>
            <a:rPr lang="en-US" sz="2300" b="1" kern="1200" baseline="0"/>
            <a:t>custom objects</a:t>
          </a:r>
          <a:r>
            <a:rPr lang="en-US" sz="2300" kern="1200" baseline="0"/>
            <a:t>, </a:t>
          </a:r>
          <a:r>
            <a:rPr lang="en-US" sz="2300" kern="1200" baseline="0" dirty="0"/>
            <a:t>and other tricks</a:t>
          </a:r>
          <a:endParaRPr lang="en-US" sz="2300" kern="1200" dirty="0"/>
        </a:p>
      </dsp:txBody>
      <dsp:txXfrm>
        <a:off x="0" y="2111673"/>
        <a:ext cx="10880726" cy="5278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FD6172-1F51-4295-9AB5-43A34BA58CAB}">
      <dsp:nvSpPr>
        <dsp:cNvPr id="0" name=""/>
        <dsp:cNvSpPr/>
      </dsp:nvSpPr>
      <dsp:spPr>
        <a:xfrm>
          <a:off x="8054" y="0"/>
          <a:ext cx="3256779" cy="2144007"/>
        </a:xfrm>
        <a:prstGeom prst="roundRect">
          <a:avLst>
            <a:gd name="adj" fmla="val 10000"/>
          </a:avLst>
        </a:prstGeom>
        <a:solidFill>
          <a:schemeClr val="accent1">
            <a:shade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baseline="0" dirty="0"/>
            <a:t>Short names for cmdlets</a:t>
          </a:r>
          <a:endParaRPr lang="en-US" sz="2900" kern="1200" dirty="0"/>
        </a:p>
      </dsp:txBody>
      <dsp:txXfrm>
        <a:off x="70850" y="62796"/>
        <a:ext cx="3131187" cy="2018415"/>
      </dsp:txXfrm>
    </dsp:sp>
    <dsp:sp modelId="{44AC4657-B80E-475F-BBE7-DB6A03998D99}">
      <dsp:nvSpPr>
        <dsp:cNvPr id="0" name=""/>
        <dsp:cNvSpPr/>
      </dsp:nvSpPr>
      <dsp:spPr>
        <a:xfrm>
          <a:off x="3811973" y="0"/>
          <a:ext cx="3256779" cy="2144007"/>
        </a:xfrm>
        <a:prstGeom prst="roundRect">
          <a:avLst>
            <a:gd name="adj" fmla="val 10000"/>
          </a:avLst>
        </a:prstGeom>
        <a:solidFill>
          <a:schemeClr val="accent1">
            <a:shade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baseline="0" dirty="0"/>
            <a:t>Can be built in or created by User</a:t>
          </a:r>
          <a:endParaRPr lang="en-US" sz="2900" kern="1200" dirty="0"/>
        </a:p>
      </dsp:txBody>
      <dsp:txXfrm>
        <a:off x="3874769" y="62796"/>
        <a:ext cx="3131187" cy="2018415"/>
      </dsp:txXfrm>
    </dsp:sp>
    <dsp:sp modelId="{1C2D36A3-D1E1-4D1A-BCC4-5BB70608C254}">
      <dsp:nvSpPr>
        <dsp:cNvPr id="0" name=""/>
        <dsp:cNvSpPr/>
      </dsp:nvSpPr>
      <dsp:spPr>
        <a:xfrm>
          <a:off x="7615891" y="0"/>
          <a:ext cx="3256779" cy="2144007"/>
        </a:xfrm>
        <a:prstGeom prst="roundRect">
          <a:avLst>
            <a:gd name="adj" fmla="val 10000"/>
          </a:avLst>
        </a:prstGeom>
        <a:solidFill>
          <a:schemeClr val="accent1">
            <a:shade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baseline="0" dirty="0"/>
            <a:t>Use Parameter Names or Positions as you normally would</a:t>
          </a:r>
          <a:endParaRPr lang="en-US" sz="2900" kern="1200" dirty="0"/>
        </a:p>
      </dsp:txBody>
      <dsp:txXfrm>
        <a:off x="7678687" y="62796"/>
        <a:ext cx="3131187" cy="201841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F78212-9B81-497F-A19F-C8C6FFD52934}">
      <dsp:nvSpPr>
        <dsp:cNvPr id="0" name=""/>
        <dsp:cNvSpPr/>
      </dsp:nvSpPr>
      <dsp:spPr>
        <a:xfrm>
          <a:off x="274235" y="892606"/>
          <a:ext cx="1367863" cy="1367863"/>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ECAA08C8-A712-4C90-9611-F6153111DDCF}">
      <dsp:nvSpPr>
        <dsp:cNvPr id="0" name=""/>
        <dsp:cNvSpPr/>
      </dsp:nvSpPr>
      <dsp:spPr>
        <a:xfrm>
          <a:off x="561486" y="1179857"/>
          <a:ext cx="793360" cy="793360"/>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697F905B-5EB3-4CA3-9CE6-3864EBD1C570}">
      <dsp:nvSpPr>
        <dsp:cNvPr id="0" name=""/>
        <dsp:cNvSpPr/>
      </dsp:nvSpPr>
      <dsp:spPr>
        <a:xfrm>
          <a:off x="1935212" y="892606"/>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Reusable block of PowerShell code</a:t>
          </a:r>
        </a:p>
      </dsp:txBody>
      <dsp:txXfrm>
        <a:off x="1935212" y="892606"/>
        <a:ext cx="3224249" cy="1367863"/>
      </dsp:txXfrm>
    </dsp:sp>
    <dsp:sp modelId="{3BAA17C3-3D6A-410F-A346-9BF93D7F0F25}">
      <dsp:nvSpPr>
        <dsp:cNvPr id="0" name=""/>
        <dsp:cNvSpPr/>
      </dsp:nvSpPr>
      <dsp:spPr>
        <a:xfrm>
          <a:off x="5721263" y="892606"/>
          <a:ext cx="1367863" cy="1367863"/>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542DD7A2-E66F-4A85-BA4C-BFE36904AE90}">
      <dsp:nvSpPr>
        <dsp:cNvPr id="0" name=""/>
        <dsp:cNvSpPr/>
      </dsp:nvSpPr>
      <dsp:spPr>
        <a:xfrm>
          <a:off x="6008514" y="1179857"/>
          <a:ext cx="793360" cy="79336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E71E3E7B-990C-4E7E-95F5-FF1AD775C6CD}">
      <dsp:nvSpPr>
        <dsp:cNvPr id="0" name=""/>
        <dsp:cNvSpPr/>
      </dsp:nvSpPr>
      <dsp:spPr>
        <a:xfrm>
          <a:off x="7382240" y="892606"/>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Reduces size of code and increases reliability</a:t>
          </a:r>
        </a:p>
      </dsp:txBody>
      <dsp:txXfrm>
        <a:off x="7382240" y="892606"/>
        <a:ext cx="3224249" cy="1367863"/>
      </dsp:txXfrm>
    </dsp:sp>
    <dsp:sp modelId="{EFD2B2FA-B76A-449A-99DC-245E75D7DFBC}">
      <dsp:nvSpPr>
        <dsp:cNvPr id="0" name=""/>
        <dsp:cNvSpPr/>
      </dsp:nvSpPr>
      <dsp:spPr>
        <a:xfrm>
          <a:off x="274235" y="3186445"/>
          <a:ext cx="1367863" cy="1367863"/>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DE1C91EB-69C3-49B2-8A3D-C092571A24A3}">
      <dsp:nvSpPr>
        <dsp:cNvPr id="0" name=""/>
        <dsp:cNvSpPr/>
      </dsp:nvSpPr>
      <dsp:spPr>
        <a:xfrm>
          <a:off x="561486" y="3473696"/>
          <a:ext cx="793360" cy="793360"/>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2EFE3F85-DC39-4CA4-8D14-A993FD598678}">
      <dsp:nvSpPr>
        <dsp:cNvPr id="0" name=""/>
        <dsp:cNvSpPr/>
      </dsp:nvSpPr>
      <dsp:spPr>
        <a:xfrm>
          <a:off x="1935212" y="318644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Can accept parameter values and return output</a:t>
          </a:r>
        </a:p>
      </dsp:txBody>
      <dsp:txXfrm>
        <a:off x="1935212" y="3186445"/>
        <a:ext cx="3224249" cy="1367863"/>
      </dsp:txXfrm>
    </dsp:sp>
    <dsp:sp modelId="{8F9D341B-5457-4EE1-A952-F276599EDACE}">
      <dsp:nvSpPr>
        <dsp:cNvPr id="0" name=""/>
        <dsp:cNvSpPr/>
      </dsp:nvSpPr>
      <dsp:spPr>
        <a:xfrm>
          <a:off x="5721263" y="3186445"/>
          <a:ext cx="1367863" cy="1367863"/>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F4ADFB1D-D9FC-45A5-BAF1-004838B18054}">
      <dsp:nvSpPr>
        <dsp:cNvPr id="0" name=""/>
        <dsp:cNvSpPr/>
      </dsp:nvSpPr>
      <dsp:spPr>
        <a:xfrm>
          <a:off x="6008514" y="3473696"/>
          <a:ext cx="793360" cy="793360"/>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048ACB16-AC9D-4705-A192-78698616193B}">
      <dsp:nvSpPr>
        <dsp:cNvPr id="0" name=""/>
        <dsp:cNvSpPr/>
      </dsp:nvSpPr>
      <dsp:spPr>
        <a:xfrm>
          <a:off x="7382240" y="3186445"/>
          <a:ext cx="3224249" cy="1367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Building blocks for Modules</a:t>
          </a:r>
        </a:p>
      </dsp:txBody>
      <dsp:txXfrm>
        <a:off x="7382240" y="3186445"/>
        <a:ext cx="3224249" cy="136786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2C4039-B602-4BE5-BDF6-0B3B285F7135}">
      <dsp:nvSpPr>
        <dsp:cNvPr id="0" name=""/>
        <dsp:cNvSpPr/>
      </dsp:nvSpPr>
      <dsp:spPr>
        <a:xfrm>
          <a:off x="2570" y="587010"/>
          <a:ext cx="1030712" cy="1030712"/>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E2DA3664-EA11-435C-BBE5-B2E03086AB8C}">
      <dsp:nvSpPr>
        <dsp:cNvPr id="0" name=""/>
        <dsp:cNvSpPr/>
      </dsp:nvSpPr>
      <dsp:spPr>
        <a:xfrm>
          <a:off x="219020" y="803459"/>
          <a:ext cx="597813" cy="59781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442FC817-1717-4972-AFA9-F929DF638388}">
      <dsp:nvSpPr>
        <dsp:cNvPr id="0" name=""/>
        <dsp:cNvSpPr/>
      </dsp:nvSpPr>
      <dsp:spPr>
        <a:xfrm>
          <a:off x="1254150" y="587010"/>
          <a:ext cx="2429537" cy="1030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US" sz="2000" kern="1200" dirty="0"/>
            <a:t>All data in PowerShell is represented as an </a:t>
          </a:r>
          <a:r>
            <a:rPr lang="en-US" sz="2000" b="1" kern="1200" dirty="0"/>
            <a:t>OBJECT</a:t>
          </a:r>
          <a:r>
            <a:rPr lang="en-US" sz="2000" kern="1200" dirty="0"/>
            <a:t> </a:t>
          </a:r>
        </a:p>
      </dsp:txBody>
      <dsp:txXfrm>
        <a:off x="1254150" y="587010"/>
        <a:ext cx="2429537" cy="1030712"/>
      </dsp:txXfrm>
    </dsp:sp>
    <dsp:sp modelId="{BD4E1F2A-ECFB-461B-B6B5-8B94CD32F7D0}">
      <dsp:nvSpPr>
        <dsp:cNvPr id="0" name=""/>
        <dsp:cNvSpPr/>
      </dsp:nvSpPr>
      <dsp:spPr>
        <a:xfrm>
          <a:off x="4107016" y="587010"/>
          <a:ext cx="1030712" cy="1030712"/>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BE066715-E87C-44B1-9D59-50B972118A9F}">
      <dsp:nvSpPr>
        <dsp:cNvPr id="0" name=""/>
        <dsp:cNvSpPr/>
      </dsp:nvSpPr>
      <dsp:spPr>
        <a:xfrm>
          <a:off x="4323466" y="803459"/>
          <a:ext cx="597813" cy="597813"/>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4A6A63B3-89DC-4E11-A893-3A67D1471435}">
      <dsp:nvSpPr>
        <dsp:cNvPr id="0" name=""/>
        <dsp:cNvSpPr/>
      </dsp:nvSpPr>
      <dsp:spPr>
        <a:xfrm>
          <a:off x="5358596" y="587010"/>
          <a:ext cx="2429537" cy="1030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US" sz="2000" kern="1200" dirty="0"/>
            <a:t>The Object consist of information (</a:t>
          </a:r>
          <a:r>
            <a:rPr lang="en-US" sz="2000" b="1" kern="1200" dirty="0"/>
            <a:t>PROPERTIES</a:t>
          </a:r>
          <a:r>
            <a:rPr lang="en-US" sz="2000" kern="1200" dirty="0"/>
            <a:t>) and actions (</a:t>
          </a:r>
          <a:r>
            <a:rPr lang="en-US" sz="2000" b="1" kern="1200" dirty="0"/>
            <a:t>METHODS</a:t>
          </a:r>
          <a:r>
            <a:rPr lang="en-US" sz="2000" kern="1200" dirty="0"/>
            <a:t>)</a:t>
          </a:r>
        </a:p>
      </dsp:txBody>
      <dsp:txXfrm>
        <a:off x="5358596" y="587010"/>
        <a:ext cx="2429537" cy="1030712"/>
      </dsp:txXfrm>
    </dsp:sp>
    <dsp:sp modelId="{ED0764C8-B46B-4EED-A451-617D46566D35}">
      <dsp:nvSpPr>
        <dsp:cNvPr id="0" name=""/>
        <dsp:cNvSpPr/>
      </dsp:nvSpPr>
      <dsp:spPr>
        <a:xfrm>
          <a:off x="8211462" y="587010"/>
          <a:ext cx="1030712" cy="1030712"/>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E6A80BE7-3F88-41E0-B5A1-EEF6F90E594C}">
      <dsp:nvSpPr>
        <dsp:cNvPr id="0" name=""/>
        <dsp:cNvSpPr/>
      </dsp:nvSpPr>
      <dsp:spPr>
        <a:xfrm>
          <a:off x="8427911" y="803459"/>
          <a:ext cx="597813" cy="59781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980D28E2-055D-4EE2-A18E-6E520F144183}">
      <dsp:nvSpPr>
        <dsp:cNvPr id="0" name=""/>
        <dsp:cNvSpPr/>
      </dsp:nvSpPr>
      <dsp:spPr>
        <a:xfrm>
          <a:off x="9463041" y="587010"/>
          <a:ext cx="2429537" cy="1030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US" sz="2000" kern="1200"/>
            <a:t>PROPERTIES and METHODS are known as </a:t>
          </a:r>
          <a:r>
            <a:rPr lang="en-US" sz="2000" b="1" kern="1200"/>
            <a:t>MEMBERS</a:t>
          </a:r>
          <a:endParaRPr lang="en-US" sz="2000" b="1" kern="1200" dirty="0"/>
        </a:p>
      </dsp:txBody>
      <dsp:txXfrm>
        <a:off x="9463041" y="587010"/>
        <a:ext cx="2429537" cy="1030712"/>
      </dsp:txXfrm>
    </dsp:sp>
    <dsp:sp modelId="{D296DF6C-5870-4EFD-81B3-E51C4DD9979A}">
      <dsp:nvSpPr>
        <dsp:cNvPr id="0" name=""/>
        <dsp:cNvSpPr/>
      </dsp:nvSpPr>
      <dsp:spPr>
        <a:xfrm>
          <a:off x="2570" y="2280404"/>
          <a:ext cx="1030712" cy="1030712"/>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4AD7AC10-4CB0-4AE4-B91C-436EECFECBBB}">
      <dsp:nvSpPr>
        <dsp:cNvPr id="0" name=""/>
        <dsp:cNvSpPr/>
      </dsp:nvSpPr>
      <dsp:spPr>
        <a:xfrm>
          <a:off x="219020" y="2496854"/>
          <a:ext cx="597813" cy="59781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E832A960-553F-43CD-A4A1-097B1C07F6C9}">
      <dsp:nvSpPr>
        <dsp:cNvPr id="0" name=""/>
        <dsp:cNvSpPr/>
      </dsp:nvSpPr>
      <dsp:spPr>
        <a:xfrm>
          <a:off x="1254150" y="2280404"/>
          <a:ext cx="2429537" cy="1030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AU" sz="2000" kern="1200" dirty="0"/>
            <a:t>A </a:t>
          </a:r>
          <a:r>
            <a:rPr lang="en-AU" sz="2000" b="1" kern="1200" dirty="0"/>
            <a:t>TYPE</a:t>
          </a:r>
          <a:r>
            <a:rPr lang="en-AU" sz="2000" kern="1200" dirty="0"/>
            <a:t> represents the template of available MEMBERS</a:t>
          </a:r>
          <a:endParaRPr lang="en-US" sz="2000" kern="1200" dirty="0"/>
        </a:p>
      </dsp:txBody>
      <dsp:txXfrm>
        <a:off x="1254150" y="2280404"/>
        <a:ext cx="2429537" cy="1030712"/>
      </dsp:txXfrm>
    </dsp:sp>
    <dsp:sp modelId="{218C1EF1-F15A-4C1E-873D-3FF63B4DA0A5}">
      <dsp:nvSpPr>
        <dsp:cNvPr id="0" name=""/>
        <dsp:cNvSpPr/>
      </dsp:nvSpPr>
      <dsp:spPr>
        <a:xfrm>
          <a:off x="4107016" y="2280404"/>
          <a:ext cx="1030712" cy="1030712"/>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44C67849-16DB-4538-B03F-5C2F13051A84}">
      <dsp:nvSpPr>
        <dsp:cNvPr id="0" name=""/>
        <dsp:cNvSpPr/>
      </dsp:nvSpPr>
      <dsp:spPr>
        <a:xfrm>
          <a:off x="4323466" y="2496854"/>
          <a:ext cx="597813" cy="597813"/>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EC4BD0B8-C73C-4F83-8143-9BE5E6A42D80}">
      <dsp:nvSpPr>
        <dsp:cNvPr id="0" name=""/>
        <dsp:cNvSpPr/>
      </dsp:nvSpPr>
      <dsp:spPr>
        <a:xfrm>
          <a:off x="5358596" y="2280404"/>
          <a:ext cx="2429537" cy="1030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US" sz="2000" kern="1200" dirty="0"/>
            <a:t>A specific object is an </a:t>
          </a:r>
          <a:r>
            <a:rPr lang="en-US" sz="2000" b="1" kern="1200" dirty="0"/>
            <a:t>INSTANCE</a:t>
          </a:r>
          <a:r>
            <a:rPr lang="en-US" sz="2000" kern="1200" dirty="0"/>
            <a:t> of a TYPE</a:t>
          </a:r>
        </a:p>
      </dsp:txBody>
      <dsp:txXfrm>
        <a:off x="5358596" y="2280404"/>
        <a:ext cx="2429537" cy="103071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558DC7-AE8D-46CF-9270-F29369537A15}">
      <dsp:nvSpPr>
        <dsp:cNvPr id="0" name=""/>
        <dsp:cNvSpPr/>
      </dsp:nvSpPr>
      <dsp:spPr>
        <a:xfrm>
          <a:off x="0" y="637435"/>
          <a:ext cx="5792789" cy="493752"/>
        </a:xfrm>
        <a:prstGeom prst="roundRect">
          <a:avLst/>
        </a:prstGeom>
        <a:solidFill>
          <a:schemeClr val="accent3">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Type casting </a:t>
          </a:r>
          <a:endParaRPr lang="en-US" sz="2400" kern="1200" dirty="0"/>
        </a:p>
      </dsp:txBody>
      <dsp:txXfrm>
        <a:off x="24103" y="661538"/>
        <a:ext cx="5744583" cy="445546"/>
      </dsp:txXfrm>
    </dsp:sp>
    <dsp:sp modelId="{4D7C6979-FB87-4ECB-96F6-FB7F06723A22}">
      <dsp:nvSpPr>
        <dsp:cNvPr id="0" name=""/>
        <dsp:cNvSpPr/>
      </dsp:nvSpPr>
      <dsp:spPr>
        <a:xfrm>
          <a:off x="0" y="1131188"/>
          <a:ext cx="5792789"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3921"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Convert a </a:t>
          </a:r>
          <a:r>
            <a:rPr lang="en-US" sz="2400" b="1" kern="1200" baseline="0" dirty="0"/>
            <a:t>single value </a:t>
          </a:r>
          <a:r>
            <a:rPr lang="en-US" sz="2400" kern="1200" baseline="0" dirty="0"/>
            <a:t>to a specific type</a:t>
          </a:r>
          <a:endParaRPr lang="en-US" sz="2400" kern="1200" dirty="0"/>
        </a:p>
      </dsp:txBody>
      <dsp:txXfrm>
        <a:off x="0" y="1131188"/>
        <a:ext cx="5792789" cy="1059840"/>
      </dsp:txXfrm>
    </dsp:sp>
    <dsp:sp modelId="{97FDAA8F-571E-4153-91B9-3535B510C571}">
      <dsp:nvSpPr>
        <dsp:cNvPr id="0" name=""/>
        <dsp:cNvSpPr/>
      </dsp:nvSpPr>
      <dsp:spPr>
        <a:xfrm>
          <a:off x="0" y="2191028"/>
          <a:ext cx="5792789" cy="493752"/>
        </a:xfrm>
        <a:prstGeom prst="roundRect">
          <a:avLst/>
        </a:prstGeom>
        <a:solidFill>
          <a:schemeClr val="accent4">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Static members </a:t>
          </a:r>
          <a:endParaRPr lang="en-US" sz="2400" kern="1200" dirty="0"/>
        </a:p>
      </dsp:txBody>
      <dsp:txXfrm>
        <a:off x="24103" y="2215131"/>
        <a:ext cx="5744583" cy="445546"/>
      </dsp:txXfrm>
    </dsp:sp>
    <dsp:sp modelId="{AFF48081-F02B-4874-815A-E873AF392849}">
      <dsp:nvSpPr>
        <dsp:cNvPr id="0" name=""/>
        <dsp:cNvSpPr/>
      </dsp:nvSpPr>
      <dsp:spPr>
        <a:xfrm>
          <a:off x="0" y="2684781"/>
          <a:ext cx="5792789"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3921"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b="1" kern="1200" baseline="0" dirty="0"/>
            <a:t>Access members </a:t>
          </a:r>
          <a:r>
            <a:rPr lang="en-US" sz="2400" kern="1200" baseline="0" dirty="0"/>
            <a:t>that live on the type itself, not the instances of data</a:t>
          </a:r>
          <a:endParaRPr lang="en-US" sz="2400" kern="1200" dirty="0"/>
        </a:p>
      </dsp:txBody>
      <dsp:txXfrm>
        <a:off x="0" y="2684781"/>
        <a:ext cx="5792789" cy="1059840"/>
      </dsp:txXfrm>
    </dsp:sp>
    <dsp:sp modelId="{F5D4A476-261C-4FE7-8369-62E557853C47}">
      <dsp:nvSpPr>
        <dsp:cNvPr id="0" name=""/>
        <dsp:cNvSpPr/>
      </dsp:nvSpPr>
      <dsp:spPr>
        <a:xfrm>
          <a:off x="0" y="3744621"/>
          <a:ext cx="5792789" cy="493752"/>
        </a:xfrm>
        <a:prstGeom prst="round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Strong typing</a:t>
          </a:r>
          <a:endParaRPr lang="en-US" sz="2400" kern="1200" dirty="0"/>
        </a:p>
      </dsp:txBody>
      <dsp:txXfrm>
        <a:off x="24103" y="3768724"/>
        <a:ext cx="5744583" cy="445546"/>
      </dsp:txXfrm>
    </dsp:sp>
    <dsp:sp modelId="{0683EDC0-3EF7-4329-8878-1DB4589BC378}">
      <dsp:nvSpPr>
        <dsp:cNvPr id="0" name=""/>
        <dsp:cNvSpPr/>
      </dsp:nvSpPr>
      <dsp:spPr>
        <a:xfrm>
          <a:off x="0" y="4238374"/>
          <a:ext cx="5792789"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3921"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Force a </a:t>
          </a:r>
          <a:r>
            <a:rPr lang="en-US" sz="2400" b="1" kern="1200" baseline="0" dirty="0"/>
            <a:t>variable</a:t>
          </a:r>
          <a:r>
            <a:rPr lang="en-US" sz="2400" kern="1200" baseline="0" dirty="0"/>
            <a:t> to only accept a specific type </a:t>
          </a:r>
          <a:endParaRPr lang="en-US" sz="2400" kern="1200" dirty="0"/>
        </a:p>
      </dsp:txBody>
      <dsp:txXfrm>
        <a:off x="0" y="4238374"/>
        <a:ext cx="5792789" cy="105984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466AE4-F90C-4725-AAEC-1817AA9DC892}">
      <dsp:nvSpPr>
        <dsp:cNvPr id="0" name=""/>
        <dsp:cNvSpPr/>
      </dsp:nvSpPr>
      <dsp:spPr>
        <a:xfrm>
          <a:off x="-6662101" y="-1018763"/>
          <a:ext cx="7929172" cy="7929172"/>
        </a:xfrm>
        <a:prstGeom prst="blockArc">
          <a:avLst>
            <a:gd name="adj1" fmla="val 18900000"/>
            <a:gd name="adj2" fmla="val 2700000"/>
            <a:gd name="adj3" fmla="val 272"/>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54F8787-5445-4D36-99E4-36A7FF50C6B0}">
      <dsp:nvSpPr>
        <dsp:cNvPr id="0" name=""/>
        <dsp:cNvSpPr/>
      </dsp:nvSpPr>
      <dsp:spPr>
        <a:xfrm>
          <a:off x="553423" y="368110"/>
          <a:ext cx="5476995" cy="73669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4749"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1" kern="1200" baseline="0" dirty="0"/>
            <a:t>Collection</a:t>
          </a:r>
          <a:r>
            <a:rPr lang="en-US" sz="2400" kern="1200" baseline="0" dirty="0"/>
            <a:t> of data</a:t>
          </a:r>
          <a:endParaRPr lang="en-US" sz="2400" kern="1200" dirty="0"/>
        </a:p>
      </dsp:txBody>
      <dsp:txXfrm>
        <a:off x="553423" y="368110"/>
        <a:ext cx="5476995" cy="736691"/>
      </dsp:txXfrm>
    </dsp:sp>
    <dsp:sp modelId="{CBB99BD6-7144-40FD-BF57-F2E6AA62572C}">
      <dsp:nvSpPr>
        <dsp:cNvPr id="0" name=""/>
        <dsp:cNvSpPr/>
      </dsp:nvSpPr>
      <dsp:spPr>
        <a:xfrm>
          <a:off x="92991" y="276023"/>
          <a:ext cx="920864" cy="920864"/>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844E5EE-B5F7-4C2B-9FB5-CFB3A615BED8}">
      <dsp:nvSpPr>
        <dsp:cNvPr id="0" name=""/>
        <dsp:cNvSpPr/>
      </dsp:nvSpPr>
      <dsp:spPr>
        <a:xfrm>
          <a:off x="1081315" y="1472793"/>
          <a:ext cx="4949104" cy="73669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4749"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dirty="0"/>
            <a:t>Create by </a:t>
          </a:r>
          <a:r>
            <a:rPr lang="en-US" sz="2400" b="1" kern="1200" baseline="0" dirty="0"/>
            <a:t>comma separating values</a:t>
          </a:r>
          <a:r>
            <a:rPr lang="en-US" sz="2400" kern="1200" baseline="0" dirty="0"/>
            <a:t> or with </a:t>
          </a:r>
          <a:r>
            <a:rPr lang="en-US" sz="2400" b="1" kern="1200" baseline="0" dirty="0"/>
            <a:t>@()</a:t>
          </a:r>
          <a:endParaRPr lang="en-US" sz="2400" b="1" kern="1200" dirty="0"/>
        </a:p>
      </dsp:txBody>
      <dsp:txXfrm>
        <a:off x="1081315" y="1472793"/>
        <a:ext cx="4949104" cy="736691"/>
      </dsp:txXfrm>
    </dsp:sp>
    <dsp:sp modelId="{E8CF2225-F193-4E6C-B35A-2E00EE7F1839}">
      <dsp:nvSpPr>
        <dsp:cNvPr id="0" name=""/>
        <dsp:cNvSpPr/>
      </dsp:nvSpPr>
      <dsp:spPr>
        <a:xfrm>
          <a:off x="620883" y="1380707"/>
          <a:ext cx="920864" cy="920864"/>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C56E585-4A88-4CBC-8B5A-94E1D5766596}">
      <dsp:nvSpPr>
        <dsp:cNvPr id="0" name=""/>
        <dsp:cNvSpPr/>
      </dsp:nvSpPr>
      <dsp:spPr>
        <a:xfrm>
          <a:off x="1243335" y="2577477"/>
          <a:ext cx="4787084" cy="73669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4749"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dirty="0"/>
            <a:t>Indexes </a:t>
          </a:r>
          <a:r>
            <a:rPr lang="en-US" sz="2400" b="1" kern="1200" baseline="0" dirty="0"/>
            <a:t>count from 0</a:t>
          </a:r>
          <a:endParaRPr lang="en-US" sz="2400" b="1" kern="1200" dirty="0"/>
        </a:p>
      </dsp:txBody>
      <dsp:txXfrm>
        <a:off x="1243335" y="2577477"/>
        <a:ext cx="4787084" cy="736691"/>
      </dsp:txXfrm>
    </dsp:sp>
    <dsp:sp modelId="{F25609F5-EFCB-4D68-9A51-A144669DDB53}">
      <dsp:nvSpPr>
        <dsp:cNvPr id="0" name=""/>
        <dsp:cNvSpPr/>
      </dsp:nvSpPr>
      <dsp:spPr>
        <a:xfrm>
          <a:off x="782903" y="2485390"/>
          <a:ext cx="920864" cy="920864"/>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FF4E8B8-40BD-49E5-A561-CB6D248750B9}">
      <dsp:nvSpPr>
        <dsp:cNvPr id="0" name=""/>
        <dsp:cNvSpPr/>
      </dsp:nvSpPr>
      <dsp:spPr>
        <a:xfrm>
          <a:off x="1081315" y="3682160"/>
          <a:ext cx="4949104" cy="73669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4749"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0" kern="1200" dirty="0"/>
            <a:t>Supports </a:t>
          </a:r>
          <a:r>
            <a:rPr lang="en-US" sz="2400" b="1" kern="1200" dirty="0"/>
            <a:t>negative indexes</a:t>
          </a:r>
        </a:p>
      </dsp:txBody>
      <dsp:txXfrm>
        <a:off x="1081315" y="3682160"/>
        <a:ext cx="4949104" cy="736691"/>
      </dsp:txXfrm>
    </dsp:sp>
    <dsp:sp modelId="{545E804E-604E-4D96-BD10-671EC69DAF8B}">
      <dsp:nvSpPr>
        <dsp:cNvPr id="0" name=""/>
        <dsp:cNvSpPr/>
      </dsp:nvSpPr>
      <dsp:spPr>
        <a:xfrm>
          <a:off x="620883" y="3590074"/>
          <a:ext cx="920864" cy="920864"/>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315F9D0-4A89-4665-B13D-0F452D886F8D}">
      <dsp:nvSpPr>
        <dsp:cNvPr id="0" name=""/>
        <dsp:cNvSpPr/>
      </dsp:nvSpPr>
      <dsp:spPr>
        <a:xfrm>
          <a:off x="553423" y="4786844"/>
          <a:ext cx="5476995" cy="73669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4749"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0" kern="1200" dirty="0"/>
            <a:t>Can pass in </a:t>
          </a:r>
          <a:r>
            <a:rPr lang="en-US" sz="2400" b="1" kern="1200" dirty="0"/>
            <a:t>multiple indexes</a:t>
          </a:r>
        </a:p>
      </dsp:txBody>
      <dsp:txXfrm>
        <a:off x="553423" y="4786844"/>
        <a:ext cx="5476995" cy="736691"/>
      </dsp:txXfrm>
    </dsp:sp>
    <dsp:sp modelId="{065ABEF3-F84A-4D14-A3CE-3561B3CC5C3F}">
      <dsp:nvSpPr>
        <dsp:cNvPr id="0" name=""/>
        <dsp:cNvSpPr/>
      </dsp:nvSpPr>
      <dsp:spPr>
        <a:xfrm>
          <a:off x="92991" y="4694758"/>
          <a:ext cx="920864" cy="920864"/>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5DF344-35E6-45CF-87CA-F9D1EEF3C361}">
      <dsp:nvSpPr>
        <dsp:cNvPr id="0" name=""/>
        <dsp:cNvSpPr/>
      </dsp:nvSpPr>
      <dsp:spPr>
        <a:xfrm>
          <a:off x="6332" y="221945"/>
          <a:ext cx="3809293" cy="1209616"/>
        </a:xfrm>
        <a:prstGeom prst="rect">
          <a:avLst/>
        </a:prstGeom>
        <a:solidFill>
          <a:schemeClr val="accent4">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AU" sz="2000" b="1" kern="1200" baseline="0" dirty="0"/>
            <a:t>While</a:t>
          </a:r>
          <a:endParaRPr lang="en-US" sz="2000" kern="1200" dirty="0"/>
        </a:p>
        <a:p>
          <a:pPr marL="228600" lvl="1" indent="-228600" algn="l" defTabSz="889000">
            <a:lnSpc>
              <a:spcPct val="90000"/>
            </a:lnSpc>
            <a:spcBef>
              <a:spcPct val="0"/>
            </a:spcBef>
            <a:spcAft>
              <a:spcPct val="15000"/>
            </a:spcAft>
            <a:buChar char="•"/>
          </a:pPr>
          <a:r>
            <a:rPr lang="en-AU" sz="2000" kern="1200" baseline="0" dirty="0"/>
            <a:t>Tests for </a:t>
          </a:r>
          <a:r>
            <a:rPr lang="en-AU" sz="2000" b="1" kern="1200" baseline="0" dirty="0"/>
            <a:t>$True </a:t>
          </a:r>
          <a:r>
            <a:rPr lang="en-AU" sz="2000" kern="1200" baseline="0" dirty="0"/>
            <a:t>condition, </a:t>
          </a:r>
          <a:r>
            <a:rPr lang="en-AU" sz="2000" b="1" kern="1200" baseline="0" dirty="0"/>
            <a:t>then</a:t>
          </a:r>
          <a:r>
            <a:rPr lang="en-AU" sz="2000" kern="1200" baseline="0" dirty="0"/>
            <a:t> runs code</a:t>
          </a:r>
          <a:endParaRPr lang="en-US" sz="2000" kern="1200" dirty="0"/>
        </a:p>
      </dsp:txBody>
      <dsp:txXfrm>
        <a:off x="6332" y="221945"/>
        <a:ext cx="3809293" cy="1209616"/>
      </dsp:txXfrm>
    </dsp:sp>
    <dsp:sp modelId="{D76CB94C-B9A5-4CB8-9B23-EE8EA317BD5F}">
      <dsp:nvSpPr>
        <dsp:cNvPr id="0" name=""/>
        <dsp:cNvSpPr/>
      </dsp:nvSpPr>
      <dsp:spPr>
        <a:xfrm>
          <a:off x="4186587" y="221945"/>
          <a:ext cx="3709616" cy="1209616"/>
        </a:xfrm>
        <a:prstGeom prst="rect">
          <a:avLst/>
        </a:prstGeom>
        <a:solidFill>
          <a:schemeClr val="accent4">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AU" sz="2000" b="1" kern="1200" baseline="0" dirty="0"/>
            <a:t>Do While</a:t>
          </a:r>
          <a:endParaRPr lang="en-US" sz="2000" kern="1200" dirty="0"/>
        </a:p>
        <a:p>
          <a:pPr marL="228600" lvl="1" indent="-228600" algn="l" defTabSz="889000">
            <a:lnSpc>
              <a:spcPct val="90000"/>
            </a:lnSpc>
            <a:spcBef>
              <a:spcPct val="0"/>
            </a:spcBef>
            <a:spcAft>
              <a:spcPct val="15000"/>
            </a:spcAft>
            <a:buChar char="•"/>
          </a:pPr>
          <a:r>
            <a:rPr lang="en-AU" sz="2000" kern="1200" baseline="0" dirty="0"/>
            <a:t>Runs code, </a:t>
          </a:r>
          <a:r>
            <a:rPr lang="en-AU" sz="2000" b="1" kern="1200" baseline="0" dirty="0"/>
            <a:t>then</a:t>
          </a:r>
          <a:r>
            <a:rPr lang="en-AU" sz="2000" kern="1200" baseline="0" dirty="0"/>
            <a:t> tests for </a:t>
          </a:r>
          <a:r>
            <a:rPr lang="en-AU" sz="2000" b="1" kern="1200" baseline="0" dirty="0"/>
            <a:t>$True </a:t>
          </a:r>
          <a:r>
            <a:rPr lang="en-AU" sz="2000" kern="1200" baseline="0" dirty="0"/>
            <a:t>condition</a:t>
          </a:r>
          <a:endParaRPr lang="en-US" sz="2000" kern="1200" dirty="0"/>
        </a:p>
      </dsp:txBody>
      <dsp:txXfrm>
        <a:off x="4186587" y="221945"/>
        <a:ext cx="3709616" cy="1209616"/>
      </dsp:txXfrm>
    </dsp:sp>
    <dsp:sp modelId="{AA41DACC-BED1-409C-998C-9C41D106365B}">
      <dsp:nvSpPr>
        <dsp:cNvPr id="0" name=""/>
        <dsp:cNvSpPr/>
      </dsp:nvSpPr>
      <dsp:spPr>
        <a:xfrm>
          <a:off x="8267165" y="221945"/>
          <a:ext cx="3709616" cy="1209616"/>
        </a:xfrm>
        <a:prstGeom prst="rect">
          <a:avLst/>
        </a:prstGeom>
        <a:solidFill>
          <a:schemeClr val="accent4">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AU" sz="2000" b="1" kern="1200" baseline="0" dirty="0"/>
            <a:t>Do Until</a:t>
          </a:r>
          <a:endParaRPr lang="en-US" sz="2000" kern="1200" dirty="0"/>
        </a:p>
        <a:p>
          <a:pPr marL="228600" lvl="1" indent="-228600" algn="l" defTabSz="889000">
            <a:lnSpc>
              <a:spcPct val="90000"/>
            </a:lnSpc>
            <a:spcBef>
              <a:spcPct val="0"/>
            </a:spcBef>
            <a:spcAft>
              <a:spcPct val="15000"/>
            </a:spcAft>
            <a:buChar char="•"/>
          </a:pPr>
          <a:r>
            <a:rPr lang="en-AU" sz="2000" kern="1200" baseline="0" dirty="0"/>
            <a:t>Runs code, </a:t>
          </a:r>
          <a:r>
            <a:rPr lang="en-AU" sz="2000" b="1" kern="1200" baseline="0" dirty="0"/>
            <a:t>then</a:t>
          </a:r>
          <a:r>
            <a:rPr lang="en-AU" sz="2000" kern="1200" baseline="0" dirty="0"/>
            <a:t> tests for </a:t>
          </a:r>
          <a:r>
            <a:rPr lang="en-AU" sz="2000" b="1" kern="1200" baseline="0" dirty="0"/>
            <a:t>$False </a:t>
          </a:r>
          <a:r>
            <a:rPr lang="en-AU" sz="2000" kern="1200" baseline="0" dirty="0"/>
            <a:t>condition</a:t>
          </a:r>
          <a:endParaRPr lang="en-US" sz="2000" kern="1200" dirty="0"/>
        </a:p>
      </dsp:txBody>
      <dsp:txXfrm>
        <a:off x="8267165" y="221945"/>
        <a:ext cx="3709616" cy="120961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0F4470-8829-48E5-81C2-6F555D208D1D}">
      <dsp:nvSpPr>
        <dsp:cNvPr id="0" name=""/>
        <dsp:cNvSpPr/>
      </dsp:nvSpPr>
      <dsp:spPr>
        <a:xfrm>
          <a:off x="5467" y="270137"/>
          <a:ext cx="5833535" cy="1113232"/>
        </a:xfrm>
        <a:prstGeom prst="rect">
          <a:avLst/>
        </a:prstGeom>
        <a:solidFill>
          <a:srgbClr val="0C5D0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AU" sz="2000" b="1" kern="1200" dirty="0"/>
            <a:t>For</a:t>
          </a:r>
          <a:endParaRPr lang="en-US" sz="2000" b="1" kern="1200" dirty="0"/>
        </a:p>
        <a:p>
          <a:pPr marL="228600" lvl="1" indent="-228600" algn="l" defTabSz="889000">
            <a:lnSpc>
              <a:spcPct val="90000"/>
            </a:lnSpc>
            <a:spcBef>
              <a:spcPct val="0"/>
            </a:spcBef>
            <a:spcAft>
              <a:spcPct val="15000"/>
            </a:spcAft>
            <a:buChar char="•"/>
          </a:pPr>
          <a:r>
            <a:rPr lang="en-AU" sz="2000" kern="1200" dirty="0"/>
            <a:t>Initialization, condition and increment up front </a:t>
          </a:r>
          <a:endParaRPr lang="en-US" sz="2000" kern="1200" dirty="0"/>
        </a:p>
      </dsp:txBody>
      <dsp:txXfrm>
        <a:off x="5467" y="270137"/>
        <a:ext cx="5833535" cy="1113232"/>
      </dsp:txXfrm>
    </dsp:sp>
    <dsp:sp modelId="{21E5C8B7-AA84-451A-8133-BCC6CA78FDFE}">
      <dsp:nvSpPr>
        <dsp:cNvPr id="0" name=""/>
        <dsp:cNvSpPr/>
      </dsp:nvSpPr>
      <dsp:spPr>
        <a:xfrm>
          <a:off x="6111805" y="270137"/>
          <a:ext cx="5833535" cy="1113232"/>
        </a:xfrm>
        <a:prstGeom prst="rect">
          <a:avLst/>
        </a:prstGeom>
        <a:solidFill>
          <a:srgbClr val="6B292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AU" sz="2000" b="1" kern="1200" dirty="0"/>
            <a:t>Foreach</a:t>
          </a:r>
          <a:endParaRPr lang="en-US" sz="2000" b="1" kern="1200" dirty="0"/>
        </a:p>
        <a:p>
          <a:pPr marL="228600" lvl="1" indent="-228600" algn="l" defTabSz="889000">
            <a:lnSpc>
              <a:spcPct val="90000"/>
            </a:lnSpc>
            <a:spcBef>
              <a:spcPct val="0"/>
            </a:spcBef>
            <a:spcAft>
              <a:spcPct val="15000"/>
            </a:spcAft>
            <a:buChar char="•"/>
          </a:pPr>
          <a:r>
            <a:rPr lang="en-AU" sz="2000" b="1" kern="1200" dirty="0"/>
            <a:t>Enumeration</a:t>
          </a:r>
          <a:r>
            <a:rPr lang="en-AU" sz="2000" kern="1200" dirty="0"/>
            <a:t> loop, runs code for each item in collection/array</a:t>
          </a:r>
          <a:endParaRPr lang="en-US" sz="2000" kern="1200" dirty="0"/>
        </a:p>
      </dsp:txBody>
      <dsp:txXfrm>
        <a:off x="6111805" y="270137"/>
        <a:ext cx="5833535" cy="111323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01ABE0-4290-4D5D-BC2D-4C2D60C4A2F7}">
      <dsp:nvSpPr>
        <dsp:cNvPr id="0" name=""/>
        <dsp:cNvSpPr/>
      </dsp:nvSpPr>
      <dsp:spPr>
        <a:xfrm>
          <a:off x="1997" y="260375"/>
          <a:ext cx="2960734" cy="40448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AU" sz="2000" b="1" kern="1200" baseline="0"/>
            <a:t>If…Elseif...Else</a:t>
          </a:r>
          <a:endParaRPr lang="en-US" sz="2000" kern="1200" dirty="0"/>
        </a:p>
      </dsp:txBody>
      <dsp:txXfrm>
        <a:off x="13844" y="272222"/>
        <a:ext cx="2937040" cy="380790"/>
      </dsp:txXfrm>
    </dsp:sp>
    <dsp:sp modelId="{4F9B4DDA-DB1B-4BEF-8632-DF10A8D33E9E}">
      <dsp:nvSpPr>
        <dsp:cNvPr id="0" name=""/>
        <dsp:cNvSpPr/>
      </dsp:nvSpPr>
      <dsp:spPr>
        <a:xfrm>
          <a:off x="298070" y="664859"/>
          <a:ext cx="257447" cy="442957"/>
        </a:xfrm>
        <a:custGeom>
          <a:avLst/>
          <a:gdLst/>
          <a:ahLst/>
          <a:cxnLst/>
          <a:rect l="0" t="0" r="0" b="0"/>
          <a:pathLst>
            <a:path>
              <a:moveTo>
                <a:pt x="0" y="0"/>
              </a:moveTo>
              <a:lnTo>
                <a:pt x="0" y="442957"/>
              </a:lnTo>
              <a:lnTo>
                <a:pt x="257447" y="442957"/>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49C3789-2403-4F81-B67E-F53EF83B034A}">
      <dsp:nvSpPr>
        <dsp:cNvPr id="0" name=""/>
        <dsp:cNvSpPr/>
      </dsp:nvSpPr>
      <dsp:spPr>
        <a:xfrm>
          <a:off x="555517" y="775591"/>
          <a:ext cx="4090651" cy="664450"/>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AU" sz="2000" b="0" kern="1200" baseline="0" dirty="0"/>
            <a:t>Conditional, runs </a:t>
          </a:r>
          <a:r>
            <a:rPr lang="en-AU" sz="2000" b="1" kern="1200" baseline="0" dirty="0"/>
            <a:t>the first code block </a:t>
          </a:r>
          <a:r>
            <a:rPr lang="en-AU" sz="2000" b="0" kern="1200" baseline="0" dirty="0"/>
            <a:t>with a $True condition</a:t>
          </a:r>
          <a:endParaRPr lang="en-US" sz="2000" b="0" kern="1200" dirty="0"/>
        </a:p>
      </dsp:txBody>
      <dsp:txXfrm>
        <a:off x="574978" y="795052"/>
        <a:ext cx="4051729" cy="625528"/>
      </dsp:txXfrm>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4.xml><?xml version="1.0" encoding="utf-8"?>
<dgm:layoutDef xmlns:r="http://schemas.openxmlformats.org/officeDocument/2006/relationships" xmlns:dgm1612="http://schemas.microsoft.com/office/drawing/2016/12/diagram"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5"/>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95D4D88-BF28-4553-8204-4C69621EE518}" type="datetime8">
              <a:rPr lang="en-US">
                <a:latin typeface="Segoe UI" pitchFamily="34" charset="0"/>
              </a:rPr>
              <a:t>12/5/2022 11:27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5"/>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685800" y="887413"/>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a:pPr/>
              <a:t>‹#›</a:t>
            </a:fld>
            <a:endParaRPr lang="en-US"/>
          </a:p>
        </p:txBody>
      </p:sp>
      <p:sp>
        <p:nvSpPr>
          <p:cNvPr id="2" name="Date Placeholder 1">
            <a:extLst>
              <a:ext uri="{FF2B5EF4-FFF2-40B4-BE49-F238E27FC236}">
                <a16:creationId xmlns:a16="http://schemas.microsoft.com/office/drawing/2014/main" id="{A02B0B40-81CD-4EB3-BC26-BB787EEFD0A9}"/>
              </a:ext>
            </a:extLst>
          </p:cNvPr>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atin typeface="Segoe UI Light" panose="020B0502040204020203" pitchFamily="34" charset="0"/>
                <a:cs typeface="Segoe UI Light" panose="020B0502040204020203" pitchFamily="34" charset="0"/>
              </a:defRPr>
            </a:lvl1pPr>
          </a:lstStyle>
          <a:p>
            <a:fld id="{B63683C5-D28F-4EF7-868C-6B282EBD67F9}" type="datetime8">
              <a:rPr lang="en-US"/>
              <a:t>12/5/2022 11:26 AM</a:t>
            </a:fld>
            <a:endParaRPr lang="en-US"/>
          </a:p>
        </p:txBody>
      </p:sp>
      <p:sp>
        <p:nvSpPr>
          <p:cNvPr id="3" name="Footer Placeholder 2">
            <a:extLst>
              <a:ext uri="{FF2B5EF4-FFF2-40B4-BE49-F238E27FC236}">
                <a16:creationId xmlns:a16="http://schemas.microsoft.com/office/drawing/2014/main" id="{FF80F9E5-2A8A-4CC6-87EE-0FA1E1FAC953}"/>
              </a:ext>
            </a:extLst>
          </p:cNvPr>
          <p:cNvSpPr>
            <a:spLocks noGrp="1"/>
          </p:cNvSpPr>
          <p:nvPr>
            <p:ph type="ftr" sz="quarter" idx="4"/>
          </p:nvPr>
        </p:nvSpPr>
        <p:spPr>
          <a:xfrm>
            <a:off x="0" y="8685213"/>
            <a:ext cx="5909309" cy="458787"/>
          </a:xfrm>
          <a:prstGeom prst="rect">
            <a:avLst/>
          </a:prstGeom>
        </p:spPr>
        <p:txBody>
          <a:bodyPr vert="horz" lIns="91440" tIns="45720" rIns="91440" bIns="45720" rtlCol="0" anchor="b"/>
          <a:lstStyle>
            <a:lvl1pPr algn="l">
              <a:defRPr sz="900">
                <a:latin typeface="Segoe UI Light" panose="020B0502040204020203" pitchFamily="34" charset="0"/>
                <a:cs typeface="Segoe UI Light" panose="020B0502040204020203" pitchFamily="34" charset="0"/>
              </a:defRPr>
            </a:lvl1pPr>
          </a:lstStyle>
          <a:p>
            <a:r>
              <a:rPr lang="en-US"/>
              <a:t>© 2017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ftr="0"/>
  <p:notesStyle>
    <a:lvl1pPr marL="0" algn="l" defTabSz="914460"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3004" indent="-105840"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105" indent="-115102"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97" indent="-146853"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97" indent="-115102"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6152" algn="l" defTabSz="914460" rtl="0" eaLnBrk="1" latinLnBrk="0" hangingPunct="1">
      <a:defRPr sz="1176" kern="1200">
        <a:solidFill>
          <a:schemeClr val="tx1"/>
        </a:solidFill>
        <a:latin typeface="+mn-lt"/>
        <a:ea typeface="+mn-ea"/>
        <a:cs typeface="+mn-cs"/>
      </a:defRPr>
    </a:lvl6pPr>
    <a:lvl7pPr marL="2743381" algn="l" defTabSz="914460" rtl="0" eaLnBrk="1" latinLnBrk="0" hangingPunct="1">
      <a:defRPr sz="1176" kern="1200">
        <a:solidFill>
          <a:schemeClr val="tx1"/>
        </a:solidFill>
        <a:latin typeface="+mn-lt"/>
        <a:ea typeface="+mn-ea"/>
        <a:cs typeface="+mn-cs"/>
      </a:defRPr>
    </a:lvl7pPr>
    <a:lvl8pPr marL="3200611" algn="l" defTabSz="914460" rtl="0" eaLnBrk="1" latinLnBrk="0" hangingPunct="1">
      <a:defRPr sz="1176" kern="1200">
        <a:solidFill>
          <a:schemeClr val="tx1"/>
        </a:solidFill>
        <a:latin typeface="+mn-lt"/>
        <a:ea typeface="+mn-ea"/>
        <a:cs typeface="+mn-cs"/>
      </a:defRPr>
    </a:lvl8pPr>
    <a:lvl9pPr marL="3657842" algn="l" defTabSz="914460"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
        <p:nvSpPr>
          <p:cNvPr id="2" name="Date Placeholder 1">
            <a:extLst>
              <a:ext uri="{FF2B5EF4-FFF2-40B4-BE49-F238E27FC236}">
                <a16:creationId xmlns:a16="http://schemas.microsoft.com/office/drawing/2014/main" id="{9E5055FA-07D8-4DA6-AC32-4413A421166A}"/>
              </a:ext>
            </a:extLst>
          </p:cNvPr>
          <p:cNvSpPr>
            <a:spLocks noGrp="1"/>
          </p:cNvSpPr>
          <p:nvPr>
            <p:ph type="dt" idx="14"/>
          </p:nvPr>
        </p:nvSpPr>
        <p:spPr/>
        <p:txBody>
          <a:bodyPr/>
          <a:lstStyle/>
          <a:p>
            <a:fld id="{D452F1B2-5A1B-401B-80FA-F451C4A333CD}" type="datetime8">
              <a:rPr lang="en-US" smtClean="0"/>
              <a:pPr/>
              <a:t>12/5/2022 11:26 AM</a:t>
            </a:fld>
            <a:endParaRPr lang="en-US"/>
          </a:p>
        </p:txBody>
      </p:sp>
      <p:sp>
        <p:nvSpPr>
          <p:cNvPr id="6" name="Slide Image Placeholder 5">
            <a:extLst>
              <a:ext uri="{FF2B5EF4-FFF2-40B4-BE49-F238E27FC236}">
                <a16:creationId xmlns:a16="http://schemas.microsoft.com/office/drawing/2014/main" id="{33502380-9092-4FF3-B02C-A2938DCFEE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9988937-EEB7-4434-8C3A-2875505BEEB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25532100"/>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 that we show them how to make their own data types with classes in this course</a:t>
            </a:r>
          </a:p>
        </p:txBody>
      </p:sp>
    </p:spTree>
    <p:extLst>
      <p:ext uri="{BB962C8B-B14F-4D97-AF65-F5344CB8AC3E}">
        <p14:creationId xmlns:p14="http://schemas.microsoft.com/office/powerpoint/2010/main" val="2116860526"/>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90000"/>
              </a:lnSpc>
              <a:spcBef>
                <a:spcPts val="0"/>
              </a:spcBef>
              <a:spcAft>
                <a:spcPts val="333"/>
              </a:spcAft>
              <a:buClrTx/>
              <a:buSzTx/>
              <a:buFontTx/>
              <a:buNone/>
              <a:tabLst/>
              <a:defRPr/>
            </a:pPr>
            <a:r>
              <a:rPr lang="en-US" dirty="0"/>
              <a:t>“Do Loops” start directly and then evaluate the equation</a:t>
            </a:r>
          </a:p>
          <a:p>
            <a:r>
              <a:rPr lang="en-US" dirty="0"/>
              <a:t>“For” and “While” will first evaluate the equation</a:t>
            </a:r>
          </a:p>
          <a:p>
            <a:r>
              <a:rPr lang="en-US" dirty="0"/>
              <a:t>“Foreach” processes each item in a list</a:t>
            </a:r>
          </a:p>
        </p:txBody>
      </p:sp>
    </p:spTree>
    <p:extLst>
      <p:ext uri="{BB962C8B-B14F-4D97-AF65-F5344CB8AC3E}">
        <p14:creationId xmlns:p14="http://schemas.microsoft.com/office/powerpoint/2010/main" val="1526483737"/>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90000"/>
              </a:lnSpc>
              <a:spcBef>
                <a:spcPts val="0"/>
              </a:spcBef>
              <a:spcAft>
                <a:spcPts val="333"/>
              </a:spcAft>
              <a:buClrTx/>
              <a:buSzTx/>
              <a:buFontTx/>
              <a:buNone/>
              <a:tabLst/>
              <a:defRPr/>
            </a:pPr>
            <a:r>
              <a:rPr lang="en-US" dirty="0"/>
              <a:t>“Do Loops” start directly and then evaluate the equation</a:t>
            </a:r>
          </a:p>
          <a:p>
            <a:r>
              <a:rPr lang="en-US" dirty="0"/>
              <a:t>“For” and “While” will first evaluate the equation</a:t>
            </a:r>
          </a:p>
          <a:p>
            <a:r>
              <a:rPr lang="en-US" dirty="0"/>
              <a:t>“Foreach” processes each item in a list</a:t>
            </a:r>
          </a:p>
        </p:txBody>
      </p:sp>
    </p:spTree>
    <p:extLst>
      <p:ext uri="{BB962C8B-B14F-4D97-AF65-F5344CB8AC3E}">
        <p14:creationId xmlns:p14="http://schemas.microsoft.com/office/powerpoint/2010/main" val="2462314051"/>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90000"/>
              </a:lnSpc>
              <a:spcBef>
                <a:spcPts val="0"/>
              </a:spcBef>
              <a:spcAft>
                <a:spcPts val="333"/>
              </a:spcAft>
              <a:buClrTx/>
              <a:buSzTx/>
              <a:buFontTx/>
              <a:buNone/>
              <a:tabLst/>
              <a:defRPr/>
            </a:pPr>
            <a:r>
              <a:rPr lang="en-US"/>
              <a:t>“Do Loops” start directly and then evaluate the equation</a:t>
            </a:r>
          </a:p>
          <a:p>
            <a:r>
              <a:rPr lang="en-US"/>
              <a:t>“For” and “While” will first evaluate the equation</a:t>
            </a:r>
          </a:p>
          <a:p>
            <a:r>
              <a:rPr lang="en-US"/>
              <a:t>“Foreach” processes each item in a list</a:t>
            </a:r>
          </a:p>
        </p:txBody>
      </p:sp>
    </p:spTree>
    <p:extLst>
      <p:ext uri="{BB962C8B-B14F-4D97-AF65-F5344CB8AC3E}">
        <p14:creationId xmlns:p14="http://schemas.microsoft.com/office/powerpoint/2010/main" val="2711376845"/>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a:pPr/>
              <a:t>16</a:t>
            </a:fld>
            <a:endParaRPr lang="en-US"/>
          </a:p>
        </p:txBody>
      </p:sp>
      <p:sp>
        <p:nvSpPr>
          <p:cNvPr id="5" name="Date Placeholder 4"/>
          <p:cNvSpPr>
            <a:spLocks noGrp="1"/>
          </p:cNvSpPr>
          <p:nvPr>
            <p:ph type="dt" idx="1"/>
          </p:nvPr>
        </p:nvSpPr>
        <p:spPr/>
        <p:txBody>
          <a:bodyPr/>
          <a:lstStyle/>
          <a:p>
            <a:fld id="{B63683C5-D28F-4EF7-868C-6B282EBD67F9}" type="datetime8">
              <a:rPr lang="en-US"/>
              <a:t>12/5/2022 11:26 AM</a:t>
            </a:fld>
            <a:endParaRPr lang="en-US"/>
          </a:p>
        </p:txBody>
      </p:sp>
    </p:spTree>
    <p:extLst>
      <p:ext uri="{BB962C8B-B14F-4D97-AF65-F5344CB8AC3E}">
        <p14:creationId xmlns:p14="http://schemas.microsoft.com/office/powerpoint/2010/main" val="1851929265"/>
      </p:ext>
    </p:extLst>
  </p:cSld>
  <p:clrMapOvr>
    <a:masterClrMapping/>
  </p:clrMapOvr>
</p:notes>
</file>

<file path=ppt/notesSlides/notesSlide15.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75C4C8-7DEA-455A-9336-A4C7DB3AE516}" type="slidenum">
              <a:rPr lang="en-US" smtClean="0"/>
              <a:pPr/>
              <a:t>18</a:t>
            </a:fld>
            <a:endParaRPr lang="en-US" dirty="0"/>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fld id="{592BAB5C-9CDE-47A0-89B0-1BD39C8B7942}" type="datetime1">
              <a:rPr lang="en-US" smtClean="0"/>
              <a:t>12/5/2022</a:t>
            </a:fld>
            <a:endParaRPr lang="en-US" dirty="0"/>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313223718"/>
      </p:ext>
    </p:extLst>
  </p:cSld>
  <p:clrMapOvr>
    <a:masterClrMapping/>
  </p:clrMapOvr>
</p:notes>
</file>

<file path=ppt/notesSlides/notesSlide16.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3"/>
          </p:nvPr>
        </p:nvSpPr>
        <p:spPr/>
        <p:txBody>
          <a:bodyPr/>
          <a:lstStyle/>
          <a:p>
            <a:fld id="{EC87E0CF-87F6-4B58-B8B8-DCAB2DAAF3CA}" type="slidenum">
              <a:rPr lang="en-US" smtClean="0"/>
              <a:pPr/>
              <a:t>19</a:t>
            </a:fld>
            <a:endParaRPr lang="en-US"/>
          </a:p>
        </p:txBody>
      </p:sp>
      <p:sp>
        <p:nvSpPr>
          <p:cNvPr id="10" name="Slide Image Placeholder 9">
            <a:extLst>
              <a:ext uri="{FF2B5EF4-FFF2-40B4-BE49-F238E27FC236}">
                <a16:creationId xmlns:a16="http://schemas.microsoft.com/office/drawing/2014/main" id="{78F88C93-2AC6-4259-8E72-48689E75DD8E}"/>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5875227C-7667-4D34-AC4C-D2C34D66B61D}"/>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CF2BF15B-46B3-461E-B4BD-0EA1A9EAF87F}"/>
              </a:ext>
            </a:extLst>
          </p:cNvPr>
          <p:cNvSpPr>
            <a:spLocks noGrp="1"/>
          </p:cNvSpPr>
          <p:nvPr>
            <p:ph type="dt" idx="15"/>
          </p:nvPr>
        </p:nvSpPr>
        <p:spPr/>
        <p:txBody>
          <a:bodyPr/>
          <a:lstStyle/>
          <a:p>
            <a:fld id="{FEF7E070-ACE9-4688-9DF6-05A4C1EB9BC3}" type="datetime8">
              <a:rPr lang="en-US" smtClean="0"/>
              <a:t>12/5/2022 11:26 AM</a:t>
            </a:fld>
            <a:endParaRPr lang="en-US"/>
          </a:p>
        </p:txBody>
      </p:sp>
    </p:spTree>
    <p:extLst>
      <p:ext uri="{BB962C8B-B14F-4D97-AF65-F5344CB8AC3E}">
        <p14:creationId xmlns:p14="http://schemas.microsoft.com/office/powerpoint/2010/main" val="1507187855"/>
      </p:ext>
    </p:extLst>
  </p:cSld>
  <p:clrMapOvr>
    <a:masterClrMapping/>
  </p:clrMapOvr>
</p:notes>
</file>

<file path=ppt/notesSlides/notesSlide2.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D05318A-054E-416C-A1EB-50D2E4AB3C8E}"/>
              </a:ext>
            </a:extLst>
          </p:cNvPr>
          <p:cNvSpPr>
            <a:spLocks noGrp="1"/>
          </p:cNvSpPr>
          <p:nvPr>
            <p:ph type="sldNum" sz="quarter" idx="10"/>
          </p:nvPr>
        </p:nvSpPr>
        <p:spPr/>
        <p:txBody>
          <a:bodyPr/>
          <a:lstStyle/>
          <a:p>
            <a:fld id="{B4008EB6-D09E-4580-8CD6-DDB14511944F}" type="slidenum">
              <a:rPr lang="en-US" smtClean="0"/>
              <a:pPr/>
              <a:t>2</a:t>
            </a:fld>
            <a:endParaRPr lang="en-US"/>
          </a:p>
        </p:txBody>
      </p:sp>
      <p:sp>
        <p:nvSpPr>
          <p:cNvPr id="6" name="Slide Image Placeholder 5">
            <a:extLst>
              <a:ext uri="{FF2B5EF4-FFF2-40B4-BE49-F238E27FC236}">
                <a16:creationId xmlns:a16="http://schemas.microsoft.com/office/drawing/2014/main" id="{AB3A5A5B-5223-4DD5-B85D-9233C92BDFA0}"/>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49C6FDCB-6BB2-45D6-9E4C-5FD135C2D1FC}"/>
              </a:ext>
            </a:extLst>
          </p:cNvPr>
          <p:cNvSpPr>
            <a:spLocks noGrp="1"/>
          </p:cNvSpPr>
          <p:nvPr>
            <p:ph type="body" idx="1"/>
          </p:nvPr>
        </p:nvSpPr>
        <p:spPr/>
        <p:txBody>
          <a:bodyPr/>
          <a:lstStyle/>
          <a:p>
            <a:endParaRPr lang="en-US"/>
          </a:p>
        </p:txBody>
      </p:sp>
      <p:sp>
        <p:nvSpPr>
          <p:cNvPr id="2" name="Date Placeholder 1">
            <a:extLst>
              <a:ext uri="{FF2B5EF4-FFF2-40B4-BE49-F238E27FC236}">
                <a16:creationId xmlns:a16="http://schemas.microsoft.com/office/drawing/2014/main" id="{E54A3777-CF28-491E-9D6F-EDB52FCF7CC7}"/>
              </a:ext>
            </a:extLst>
          </p:cNvPr>
          <p:cNvSpPr>
            <a:spLocks noGrp="1"/>
          </p:cNvSpPr>
          <p:nvPr>
            <p:ph type="dt" idx="11"/>
          </p:nvPr>
        </p:nvSpPr>
        <p:spPr/>
        <p:txBody>
          <a:bodyPr/>
          <a:lstStyle/>
          <a:p>
            <a:fld id="{8BF1F277-1E2C-482D-B27F-EC05DCDBE7D6}" type="datetime8">
              <a:rPr lang="en-US" smtClean="0"/>
              <a:t>12/5/2022 11:26 AM</a:t>
            </a:fld>
            <a:endParaRPr lang="en-US"/>
          </a:p>
        </p:txBody>
      </p:sp>
    </p:spTree>
    <p:extLst>
      <p:ext uri="{BB962C8B-B14F-4D97-AF65-F5344CB8AC3E}">
        <p14:creationId xmlns:p14="http://schemas.microsoft.com/office/powerpoint/2010/main" val="2685669984"/>
      </p:ext>
    </p:extLst>
  </p:cSld>
  <p:clrMapOvr>
    <a:masterClrMapping/>
  </p:clrMapOvr>
</p:notes>
</file>

<file path=ppt/notesSlides/notesSlide3.xml><?xml version="1.0" encoding="utf-8"?>
<p:notes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3</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5/2022</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513252009"/>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Native PowerShell commands are called as Cmdlets(Pronounced as "Commandle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 Cmdlet is composed of a Verb and a</a:t>
            </a:r>
            <a:r>
              <a:rPr lang="en-US" baseline="0" dirty="0"/>
              <a:t> </a:t>
            </a:r>
            <a:r>
              <a:rPr lang="en-US" dirty="0"/>
              <a:t>Noun separated by a hyphen (-) : This gives us a nice consistent naming scheme and makes it easier to determine</a:t>
            </a:r>
            <a:r>
              <a:rPr lang="en-US" baseline="0" dirty="0"/>
              <a:t> what things do.</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00000"/>
                </a:solidFill>
                <a:latin typeface="Calibri"/>
              </a:rPr>
              <a:t>Following a Cmdlet, we can</a:t>
            </a:r>
            <a:r>
              <a:rPr lang="en-US" baseline="0" dirty="0">
                <a:solidFill>
                  <a:srgbClr val="000000"/>
                </a:solidFill>
                <a:latin typeface="Calibri"/>
              </a:rPr>
              <a:t> provide parameters to pass data in and augment the behavio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solidFill>
                  <a:srgbClr val="000000"/>
                </a:solidFill>
                <a:latin typeface="Calibri"/>
              </a:rPr>
              <a:t>All parameters start with a dash (-) and most of them are followed by a value we want to pass into the cmdl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solidFill>
                  <a:srgbClr val="000000"/>
                </a:solidFill>
                <a:latin typeface="Calibri"/>
              </a:rPr>
              <a:t>Some parameters are optional, and some are mandatory. This will vary by cmdlet and we show you how to find that in a little bi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solidFill>
                  <a:srgbClr val="000000"/>
                </a:solidFill>
                <a:latin typeface="Calibri"/>
              </a:rPr>
              <a:t>Switch parameters (like –force) are just set to on or off, like a light switch. </a:t>
            </a:r>
            <a:r>
              <a:rPr lang="en-US" dirty="0">
                <a:solidFill>
                  <a:srgbClr val="000000"/>
                </a:solidFill>
                <a:latin typeface="Calibri"/>
              </a:rPr>
              <a:t> They will be off by default, and on if you specify them. No value is required. </a:t>
            </a:r>
          </a:p>
          <a:p>
            <a:endParaRPr lang="en-US" dirty="0">
              <a:solidFill>
                <a:srgbClr val="000000"/>
              </a:solidFill>
              <a:latin typeface="Calibri"/>
            </a:endParaRPr>
          </a:p>
          <a:p>
            <a:r>
              <a:rPr lang="en-US" dirty="0">
                <a:solidFill>
                  <a:srgbClr val="000000"/>
                </a:solidFill>
                <a:latin typeface="Calibri"/>
              </a:rPr>
              <a:t>Positional Parameters:</a:t>
            </a:r>
          </a:p>
          <a:p>
            <a:r>
              <a:rPr lang="en-US" dirty="0">
                <a:solidFill>
                  <a:srgbClr val="000000"/>
                </a:solidFill>
                <a:latin typeface="Calibri"/>
              </a:rPr>
              <a:t>Also, sometimes, Parameter Names are optional. The parameter's position is fixed in such cases which allows the flexibility to supply values directly to the cmdlet omitting the Parameter's name.</a:t>
            </a:r>
          </a:p>
          <a:p>
            <a:r>
              <a:rPr lang="en-US" dirty="0">
                <a:solidFill>
                  <a:srgbClr val="000000"/>
                </a:solidFill>
                <a:latin typeface="Calibri"/>
              </a:rPr>
              <a:t>E.g.: </a:t>
            </a:r>
            <a:r>
              <a:rPr lang="en-US" b="1" dirty="0">
                <a:solidFill>
                  <a:srgbClr val="000000"/>
                </a:solidFill>
                <a:latin typeface="Calibri"/>
              </a:rPr>
              <a:t>Get-Service –Name spooler</a:t>
            </a:r>
            <a:r>
              <a:rPr lang="en-US" dirty="0">
                <a:solidFill>
                  <a:srgbClr val="000000"/>
                </a:solidFill>
                <a:latin typeface="Calibri"/>
              </a:rPr>
              <a:t> can also be written as </a:t>
            </a:r>
            <a:r>
              <a:rPr lang="en-US" b="1" dirty="0">
                <a:solidFill>
                  <a:srgbClr val="000000"/>
                </a:solidFill>
                <a:latin typeface="Calibri"/>
              </a:rPr>
              <a:t>Get-Service spooler</a:t>
            </a:r>
            <a:r>
              <a:rPr lang="en-US" dirty="0">
                <a:solidFill>
                  <a:srgbClr val="000000"/>
                </a:solidFill>
                <a:latin typeface="Calibri"/>
              </a:rPr>
              <a:t> . First position after cmdlet is fixed for </a:t>
            </a:r>
            <a:r>
              <a:rPr lang="en-US" i="1" dirty="0">
                <a:solidFill>
                  <a:srgbClr val="000000"/>
                </a:solidFill>
                <a:latin typeface="Calibri"/>
              </a:rPr>
              <a:t>-Name</a:t>
            </a:r>
            <a:r>
              <a:rPr lang="en-US" dirty="0">
                <a:solidFill>
                  <a:srgbClr val="000000"/>
                </a:solidFill>
                <a:latin typeface="Calibri"/>
              </a:rPr>
              <a:t> in this case.</a:t>
            </a:r>
          </a:p>
          <a:p>
            <a:r>
              <a:rPr lang="en-US" dirty="0">
                <a:solidFill>
                  <a:srgbClr val="000000"/>
                </a:solidFill>
                <a:latin typeface="Calibri"/>
              </a:rPr>
              <a:t>It is better to provide names of parameters when you are new to scripting rather than use this shortcut.</a:t>
            </a:r>
          </a:p>
        </p:txBody>
      </p:sp>
    </p:spTree>
    <p:extLst>
      <p:ext uri="{BB962C8B-B14F-4D97-AF65-F5344CB8AC3E}">
        <p14:creationId xmlns:p14="http://schemas.microsoft.com/office/powerpoint/2010/main" val="3310805225"/>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Native PowerShell commands are called as Cmdlets(Pronounced as "Commandle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 Cmdlet is composed of a Verb and a</a:t>
            </a:r>
            <a:r>
              <a:rPr lang="en-US" baseline="0" dirty="0"/>
              <a:t> </a:t>
            </a:r>
            <a:r>
              <a:rPr lang="en-US" dirty="0"/>
              <a:t>Noun separated by a hyphen (-) : This gives us a nice consistent naming scheme and makes it easier to determine</a:t>
            </a:r>
            <a:r>
              <a:rPr lang="en-US" baseline="0" dirty="0"/>
              <a:t> what things do.</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00000"/>
                </a:solidFill>
                <a:latin typeface="Calibri"/>
              </a:rPr>
              <a:t>Following a Cmdlet, we can</a:t>
            </a:r>
            <a:r>
              <a:rPr lang="en-US" baseline="0" dirty="0">
                <a:solidFill>
                  <a:srgbClr val="000000"/>
                </a:solidFill>
                <a:latin typeface="Calibri"/>
              </a:rPr>
              <a:t> provide parameters to pass data in and augment the behavio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solidFill>
                  <a:srgbClr val="000000"/>
                </a:solidFill>
                <a:latin typeface="Calibri"/>
              </a:rPr>
              <a:t>All parameters start with a dash (-) and most of them are followed by a value we want to pass into the cmdl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solidFill>
                  <a:srgbClr val="000000"/>
                </a:solidFill>
                <a:latin typeface="Calibri"/>
              </a:rPr>
              <a:t>Some parameters are optional, and some are mandatory. This will vary by cmdlet and we show you how to find that in a little bi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solidFill>
                  <a:srgbClr val="000000"/>
                </a:solidFill>
                <a:latin typeface="Calibri"/>
              </a:rPr>
              <a:t>Switch parameters (like –force) are just set to on or off, like a light switch. </a:t>
            </a:r>
            <a:r>
              <a:rPr lang="en-US" dirty="0">
                <a:solidFill>
                  <a:srgbClr val="000000"/>
                </a:solidFill>
                <a:latin typeface="Calibri"/>
              </a:rPr>
              <a:t> They will be off by default, and on if you specify them. No value is required. </a:t>
            </a:r>
          </a:p>
          <a:p>
            <a:endParaRPr lang="en-US" dirty="0">
              <a:solidFill>
                <a:srgbClr val="000000"/>
              </a:solidFill>
              <a:latin typeface="Calibri"/>
            </a:endParaRPr>
          </a:p>
          <a:p>
            <a:r>
              <a:rPr lang="en-US" dirty="0">
                <a:solidFill>
                  <a:srgbClr val="000000"/>
                </a:solidFill>
                <a:latin typeface="Calibri"/>
              </a:rPr>
              <a:t>Positional Parameters:</a:t>
            </a:r>
          </a:p>
          <a:p>
            <a:r>
              <a:rPr lang="en-US" dirty="0">
                <a:solidFill>
                  <a:srgbClr val="000000"/>
                </a:solidFill>
                <a:latin typeface="Calibri"/>
              </a:rPr>
              <a:t>Also, sometimes, Parameter Names are optional. The parameter's position is fixed in such cases which allows the flexibility to supply values directly to the cmdlet omitting the Parameter's name.</a:t>
            </a:r>
          </a:p>
          <a:p>
            <a:r>
              <a:rPr lang="en-US" dirty="0">
                <a:solidFill>
                  <a:srgbClr val="000000"/>
                </a:solidFill>
                <a:latin typeface="Calibri"/>
              </a:rPr>
              <a:t>E.g.: </a:t>
            </a:r>
            <a:r>
              <a:rPr lang="en-US" b="1" dirty="0">
                <a:solidFill>
                  <a:srgbClr val="000000"/>
                </a:solidFill>
                <a:latin typeface="Calibri"/>
              </a:rPr>
              <a:t>Get-Service –Name spooler</a:t>
            </a:r>
            <a:r>
              <a:rPr lang="en-US" dirty="0">
                <a:solidFill>
                  <a:srgbClr val="000000"/>
                </a:solidFill>
                <a:latin typeface="Calibri"/>
              </a:rPr>
              <a:t> can also be written as </a:t>
            </a:r>
            <a:r>
              <a:rPr lang="en-US" b="1" dirty="0">
                <a:solidFill>
                  <a:srgbClr val="000000"/>
                </a:solidFill>
                <a:latin typeface="Calibri"/>
              </a:rPr>
              <a:t>Get-Service spooler</a:t>
            </a:r>
            <a:r>
              <a:rPr lang="en-US" dirty="0">
                <a:solidFill>
                  <a:srgbClr val="000000"/>
                </a:solidFill>
                <a:latin typeface="Calibri"/>
              </a:rPr>
              <a:t> . First position after cmdlet is fixed for </a:t>
            </a:r>
            <a:r>
              <a:rPr lang="en-US" i="1" dirty="0">
                <a:solidFill>
                  <a:srgbClr val="000000"/>
                </a:solidFill>
                <a:latin typeface="Calibri"/>
              </a:rPr>
              <a:t>-Name</a:t>
            </a:r>
            <a:r>
              <a:rPr lang="en-US" dirty="0">
                <a:solidFill>
                  <a:srgbClr val="000000"/>
                </a:solidFill>
                <a:latin typeface="Calibri"/>
              </a:rPr>
              <a:t> in this case.</a:t>
            </a:r>
          </a:p>
          <a:p>
            <a:r>
              <a:rPr lang="en-US" dirty="0">
                <a:solidFill>
                  <a:srgbClr val="000000"/>
                </a:solidFill>
                <a:latin typeface="Calibri"/>
              </a:rPr>
              <a:t>It is better to provide names of parameters when you are new to scripting rather than use this shortcut.</a:t>
            </a:r>
          </a:p>
        </p:txBody>
      </p:sp>
    </p:spTree>
    <p:extLst>
      <p:ext uri="{BB962C8B-B14F-4D97-AF65-F5344CB8AC3E}">
        <p14:creationId xmlns:p14="http://schemas.microsoft.com/office/powerpoint/2010/main" val="867771386"/>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7640152"/>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solidFill>
                  <a:srgbClr val="F5F5F5"/>
                </a:solidFill>
                <a:latin typeface="Lucida Console" panose="020B0609040504020204" pitchFamily="49" charset="0"/>
              </a:rPr>
              <a:t>DEMO Slide added</a:t>
            </a:r>
          </a:p>
          <a:p>
            <a:endParaRPr lang="en-US" sz="900" dirty="0">
              <a:solidFill>
                <a:srgbClr val="F5F5F5"/>
              </a:solidFill>
              <a:latin typeface="Lucida Console" panose="020B0609040504020204" pitchFamily="49" charset="0"/>
            </a:endParaRPr>
          </a:p>
          <a:p>
            <a:r>
              <a:rPr lang="en-US" sz="900" dirty="0">
                <a:solidFill>
                  <a:srgbClr val="F5F5F5"/>
                </a:solidFill>
                <a:latin typeface="Lucida Console" panose="020B0609040504020204" pitchFamily="49" charset="0"/>
              </a:rPr>
              <a:t>PS&gt; </a:t>
            </a:r>
            <a:r>
              <a:rPr lang="en-US" sz="900" dirty="0">
                <a:solidFill>
                  <a:srgbClr val="E0FFFF"/>
                </a:solidFill>
                <a:latin typeface="Lucida Console" panose="020B0609040504020204" pitchFamily="49" charset="0"/>
              </a:rPr>
              <a:t>Get-Service</a:t>
            </a:r>
            <a:r>
              <a:rPr lang="en-US" sz="900" dirty="0">
                <a:solidFill>
                  <a:srgbClr val="F5F5F5"/>
                </a:solidFill>
                <a:latin typeface="Lucida Console" panose="020B0609040504020204" pitchFamily="49" charset="0"/>
              </a:rPr>
              <a:t> </a:t>
            </a:r>
            <a:r>
              <a:rPr lang="en-US" sz="900" dirty="0">
                <a:solidFill>
                  <a:srgbClr val="D3D3D3"/>
                </a:solidFill>
                <a:latin typeface="Lucida Console" panose="020B0609040504020204" pitchFamily="49" charset="0"/>
              </a:rPr>
              <a:t>|</a:t>
            </a:r>
            <a:r>
              <a:rPr lang="en-US" sz="900" dirty="0">
                <a:solidFill>
                  <a:srgbClr val="F5F5F5"/>
                </a:solidFill>
                <a:latin typeface="Lucida Console" panose="020B0609040504020204" pitchFamily="49" charset="0"/>
              </a:rPr>
              <a:t> </a:t>
            </a:r>
            <a:r>
              <a:rPr lang="en-US" sz="900" dirty="0">
                <a:solidFill>
                  <a:srgbClr val="E0FFFF"/>
                </a:solidFill>
                <a:latin typeface="Lucida Console" panose="020B0609040504020204" pitchFamily="49" charset="0"/>
              </a:rPr>
              <a:t>Export-Csv</a:t>
            </a:r>
            <a:r>
              <a:rPr lang="en-US" sz="900" dirty="0">
                <a:solidFill>
                  <a:srgbClr val="F5F5F5"/>
                </a:solidFill>
                <a:latin typeface="Lucida Console" panose="020B0609040504020204" pitchFamily="49" charset="0"/>
              </a:rPr>
              <a:t> </a:t>
            </a:r>
            <a:r>
              <a:rPr lang="en-US" sz="900" dirty="0">
                <a:solidFill>
                  <a:srgbClr val="FFE4B5"/>
                </a:solidFill>
                <a:latin typeface="Lucida Console" panose="020B0609040504020204" pitchFamily="49" charset="0"/>
              </a:rPr>
              <a:t>-Path</a:t>
            </a:r>
            <a:r>
              <a:rPr lang="en-US" sz="900" dirty="0">
                <a:solidFill>
                  <a:srgbClr val="F5F5F5"/>
                </a:solidFill>
                <a:latin typeface="Lucida Console" panose="020B0609040504020204" pitchFamily="49" charset="0"/>
              </a:rPr>
              <a:t> </a:t>
            </a:r>
            <a:r>
              <a:rPr lang="en-US" sz="900" dirty="0">
                <a:solidFill>
                  <a:srgbClr val="EE82EE"/>
                </a:solidFill>
                <a:latin typeface="Lucida Console" panose="020B0609040504020204" pitchFamily="49" charset="0"/>
              </a:rPr>
              <a:t>C:\temp\services.csv </a:t>
            </a:r>
          </a:p>
          <a:p>
            <a:endParaRPr lang="en-US" sz="900" dirty="0">
              <a:solidFill>
                <a:srgbClr val="F5F5F5"/>
              </a:solidFill>
              <a:latin typeface="Lucida Console" panose="020B0609040504020204" pitchFamily="49" charset="0"/>
            </a:endParaRPr>
          </a:p>
          <a:p>
            <a:r>
              <a:rPr lang="en-US" sz="900" dirty="0">
                <a:solidFill>
                  <a:srgbClr val="F5F5F5"/>
                </a:solidFill>
                <a:latin typeface="Lucida Console" panose="020B0609040504020204" pitchFamily="49" charset="0"/>
              </a:rPr>
              <a:t>PS&gt; </a:t>
            </a:r>
            <a:r>
              <a:rPr lang="en-US" sz="900" dirty="0">
                <a:solidFill>
                  <a:srgbClr val="FF4500"/>
                </a:solidFill>
                <a:latin typeface="Lucida Console" panose="020B0609040504020204" pitchFamily="49" charset="0"/>
              </a:rPr>
              <a:t>$Data</a:t>
            </a:r>
            <a:r>
              <a:rPr lang="en-US" sz="900" dirty="0">
                <a:solidFill>
                  <a:srgbClr val="F5F5F5"/>
                </a:solidFill>
                <a:latin typeface="Lucida Console" panose="020B0609040504020204" pitchFamily="49" charset="0"/>
              </a:rPr>
              <a:t> </a:t>
            </a:r>
            <a:r>
              <a:rPr lang="en-US" sz="900" dirty="0">
                <a:solidFill>
                  <a:srgbClr val="D3D3D3"/>
                </a:solidFill>
                <a:latin typeface="Lucida Console" panose="020B0609040504020204" pitchFamily="49" charset="0"/>
              </a:rPr>
              <a:t>=</a:t>
            </a:r>
            <a:r>
              <a:rPr lang="en-US" sz="900" dirty="0">
                <a:solidFill>
                  <a:srgbClr val="F5F5F5"/>
                </a:solidFill>
                <a:latin typeface="Lucida Console" panose="020B0609040504020204" pitchFamily="49" charset="0"/>
              </a:rPr>
              <a:t> </a:t>
            </a:r>
            <a:r>
              <a:rPr lang="en-US" sz="900" dirty="0">
                <a:solidFill>
                  <a:srgbClr val="E0FFFF"/>
                </a:solidFill>
                <a:latin typeface="Lucida Console" panose="020B0609040504020204" pitchFamily="49" charset="0"/>
              </a:rPr>
              <a:t>Get-Content</a:t>
            </a:r>
            <a:r>
              <a:rPr lang="en-US" sz="900" dirty="0">
                <a:solidFill>
                  <a:srgbClr val="F5F5F5"/>
                </a:solidFill>
                <a:latin typeface="Lucida Console" panose="020B0609040504020204" pitchFamily="49" charset="0"/>
              </a:rPr>
              <a:t> </a:t>
            </a:r>
            <a:r>
              <a:rPr lang="en-US" sz="900" dirty="0">
                <a:solidFill>
                  <a:srgbClr val="EE82EE"/>
                </a:solidFill>
                <a:latin typeface="Lucida Console" panose="020B0609040504020204" pitchFamily="49" charset="0"/>
              </a:rPr>
              <a:t>C:\SomeFile.json</a:t>
            </a:r>
            <a:r>
              <a:rPr lang="en-US" sz="900" dirty="0">
                <a:solidFill>
                  <a:srgbClr val="F5F5F5"/>
                </a:solidFill>
                <a:latin typeface="Lucida Console" panose="020B0609040504020204" pitchFamily="49" charset="0"/>
              </a:rPr>
              <a:t> </a:t>
            </a:r>
            <a:r>
              <a:rPr lang="en-US" sz="900" dirty="0">
                <a:solidFill>
                  <a:srgbClr val="D3D3D3"/>
                </a:solidFill>
                <a:latin typeface="Lucida Console" panose="020B0609040504020204" pitchFamily="49" charset="0"/>
              </a:rPr>
              <a:t>|</a:t>
            </a:r>
            <a:r>
              <a:rPr lang="en-US" sz="900" dirty="0">
                <a:solidFill>
                  <a:srgbClr val="F5F5F5"/>
                </a:solidFill>
                <a:latin typeface="Lucida Console" panose="020B0609040504020204" pitchFamily="49" charset="0"/>
              </a:rPr>
              <a:t> </a:t>
            </a:r>
            <a:r>
              <a:rPr lang="en-US" sz="900" dirty="0" err="1">
                <a:solidFill>
                  <a:srgbClr val="E0FFFF"/>
                </a:solidFill>
                <a:latin typeface="Lucida Console" panose="020B0609040504020204" pitchFamily="49" charset="0"/>
              </a:rPr>
              <a:t>ConvertFrom</a:t>
            </a:r>
            <a:r>
              <a:rPr lang="en-US" sz="900" dirty="0">
                <a:solidFill>
                  <a:srgbClr val="E0FFFF"/>
                </a:solidFill>
                <a:latin typeface="Lucida Console" panose="020B0609040504020204" pitchFamily="49" charset="0"/>
              </a:rPr>
              <a:t>-Json</a:t>
            </a:r>
            <a:r>
              <a:rPr lang="en-US" sz="900" dirty="0">
                <a:solidFill>
                  <a:srgbClr val="F5F5F5"/>
                </a:solidFill>
                <a:latin typeface="Lucida Console" panose="020B0609040504020204" pitchFamily="49" charset="0"/>
              </a:rPr>
              <a:t> </a:t>
            </a:r>
          </a:p>
          <a:p>
            <a:r>
              <a:rPr lang="en-US" sz="900" dirty="0">
                <a:solidFill>
                  <a:srgbClr val="F5F5F5"/>
                </a:solidFill>
                <a:latin typeface="Lucida Console" panose="020B0609040504020204" pitchFamily="49" charset="0"/>
              </a:rPr>
              <a:t> </a:t>
            </a:r>
          </a:p>
          <a:p>
            <a:r>
              <a:rPr lang="en-US" sz="900" dirty="0">
                <a:solidFill>
                  <a:srgbClr val="F5F5F5"/>
                </a:solidFill>
                <a:latin typeface="Lucida Console" panose="020B0609040504020204" pitchFamily="49" charset="0"/>
              </a:rPr>
              <a:t>PS&gt; G</a:t>
            </a:r>
            <a:r>
              <a:rPr lang="en-US" sz="900" dirty="0">
                <a:solidFill>
                  <a:srgbClr val="E0FFFF"/>
                </a:solidFill>
                <a:latin typeface="Lucida Console" panose="020B0609040504020204" pitchFamily="49" charset="0"/>
              </a:rPr>
              <a:t>et-Service</a:t>
            </a:r>
            <a:r>
              <a:rPr lang="en-US" sz="900" dirty="0">
                <a:solidFill>
                  <a:srgbClr val="F5F5F5"/>
                </a:solidFill>
                <a:latin typeface="Lucida Console" panose="020B0609040504020204" pitchFamily="49" charset="0"/>
              </a:rPr>
              <a:t> </a:t>
            </a:r>
            <a:r>
              <a:rPr lang="en-US" sz="900" dirty="0">
                <a:solidFill>
                  <a:srgbClr val="D3D3D3"/>
                </a:solidFill>
                <a:latin typeface="Lucida Console" panose="020B0609040504020204" pitchFamily="49" charset="0"/>
              </a:rPr>
              <a:t>|</a:t>
            </a:r>
            <a:r>
              <a:rPr lang="en-US" sz="900" dirty="0">
                <a:solidFill>
                  <a:srgbClr val="F5F5F5"/>
                </a:solidFill>
                <a:latin typeface="Lucida Console" panose="020B0609040504020204" pitchFamily="49" charset="0"/>
              </a:rPr>
              <a:t> </a:t>
            </a:r>
            <a:r>
              <a:rPr lang="en-US" sz="900" dirty="0">
                <a:solidFill>
                  <a:srgbClr val="E0FFFF"/>
                </a:solidFill>
                <a:latin typeface="Lucida Console" panose="020B0609040504020204" pitchFamily="49" charset="0"/>
              </a:rPr>
              <a:t>Where</a:t>
            </a:r>
            <a:r>
              <a:rPr lang="en-US" sz="900" dirty="0">
                <a:solidFill>
                  <a:srgbClr val="F5F5F5"/>
                </a:solidFill>
                <a:latin typeface="Lucida Console" panose="020B0609040504020204" pitchFamily="49" charset="0"/>
              </a:rPr>
              <a:t> {</a:t>
            </a:r>
            <a:r>
              <a:rPr lang="en-US" sz="900" dirty="0">
                <a:solidFill>
                  <a:srgbClr val="FF4500"/>
                </a:solidFill>
                <a:latin typeface="Lucida Console" panose="020B0609040504020204" pitchFamily="49" charset="0"/>
              </a:rPr>
              <a:t>$_</a:t>
            </a:r>
            <a:r>
              <a:rPr lang="en-US" sz="900" dirty="0">
                <a:solidFill>
                  <a:srgbClr val="D3D3D3"/>
                </a:solidFill>
                <a:latin typeface="Lucida Console" panose="020B0609040504020204" pitchFamily="49" charset="0"/>
              </a:rPr>
              <a:t>.</a:t>
            </a:r>
            <a:r>
              <a:rPr lang="en-US" sz="900" dirty="0">
                <a:solidFill>
                  <a:srgbClr val="F5F5F5"/>
                </a:solidFill>
                <a:latin typeface="Lucida Console" panose="020B0609040504020204" pitchFamily="49" charset="0"/>
              </a:rPr>
              <a:t>Status </a:t>
            </a:r>
            <a:r>
              <a:rPr lang="en-US" sz="900" dirty="0">
                <a:solidFill>
                  <a:srgbClr val="D3D3D3"/>
                </a:solidFill>
                <a:latin typeface="Lucida Console" panose="020B0609040504020204" pitchFamily="49" charset="0"/>
              </a:rPr>
              <a:t>-Like</a:t>
            </a:r>
            <a:r>
              <a:rPr lang="en-US" sz="900" dirty="0">
                <a:solidFill>
                  <a:srgbClr val="F5F5F5"/>
                </a:solidFill>
                <a:latin typeface="Lucida Console" panose="020B0609040504020204" pitchFamily="49" charset="0"/>
              </a:rPr>
              <a:t> </a:t>
            </a:r>
            <a:r>
              <a:rPr lang="en-US" sz="900" dirty="0">
                <a:solidFill>
                  <a:srgbClr val="DB7093"/>
                </a:solidFill>
                <a:latin typeface="Lucida Console" panose="020B0609040504020204" pitchFamily="49" charset="0"/>
              </a:rPr>
              <a:t>"Run*"</a:t>
            </a:r>
            <a:r>
              <a:rPr lang="en-US" sz="900" dirty="0">
                <a:solidFill>
                  <a:srgbClr val="F5F5F5"/>
                </a:solidFill>
                <a:latin typeface="Lucida Console" panose="020B0609040504020204" pitchFamily="49" charset="0"/>
              </a:rPr>
              <a:t>} </a:t>
            </a:r>
            <a:r>
              <a:rPr lang="en-US" sz="900" dirty="0">
                <a:solidFill>
                  <a:srgbClr val="D3D3D3"/>
                </a:solidFill>
                <a:latin typeface="Lucida Console" panose="020B0609040504020204" pitchFamily="49" charset="0"/>
              </a:rPr>
              <a:t>|</a:t>
            </a:r>
            <a:r>
              <a:rPr lang="en-US" sz="900" dirty="0">
                <a:solidFill>
                  <a:srgbClr val="F5F5F5"/>
                </a:solidFill>
                <a:latin typeface="Lucida Console" panose="020B0609040504020204" pitchFamily="49" charset="0"/>
              </a:rPr>
              <a:t> </a:t>
            </a:r>
            <a:r>
              <a:rPr lang="en-US" sz="900" dirty="0">
                <a:solidFill>
                  <a:srgbClr val="E0FFFF"/>
                </a:solidFill>
                <a:latin typeface="Lucida Console" panose="020B0609040504020204" pitchFamily="49" charset="0"/>
              </a:rPr>
              <a:t>Foreach</a:t>
            </a:r>
            <a:r>
              <a:rPr lang="en-US" sz="900" dirty="0">
                <a:solidFill>
                  <a:srgbClr val="F5F5F5"/>
                </a:solidFill>
                <a:latin typeface="Lucida Console" panose="020B0609040504020204" pitchFamily="49" charset="0"/>
              </a:rPr>
              <a:t> {</a:t>
            </a:r>
            <a:r>
              <a:rPr lang="en-US" sz="900" dirty="0">
                <a:solidFill>
                  <a:srgbClr val="FF4500"/>
                </a:solidFill>
                <a:latin typeface="Lucida Console" panose="020B0609040504020204" pitchFamily="49" charset="0"/>
              </a:rPr>
              <a:t>$_</a:t>
            </a:r>
            <a:r>
              <a:rPr lang="en-US" sz="900" dirty="0">
                <a:solidFill>
                  <a:srgbClr val="D3D3D3"/>
                </a:solidFill>
                <a:latin typeface="Lucida Console" panose="020B0609040504020204" pitchFamily="49" charset="0"/>
              </a:rPr>
              <a:t>.</a:t>
            </a:r>
            <a:r>
              <a:rPr lang="en-US" sz="900" dirty="0">
                <a:solidFill>
                  <a:srgbClr val="F5F5F5"/>
                </a:solidFill>
                <a:latin typeface="Lucida Console" panose="020B0609040504020204" pitchFamily="49" charset="0"/>
              </a:rPr>
              <a:t>DisplayName} </a:t>
            </a:r>
          </a:p>
          <a:p>
            <a:r>
              <a:rPr lang="en-US" sz="900" dirty="0">
                <a:solidFill>
                  <a:srgbClr val="F5F5F5"/>
                </a:solidFill>
                <a:latin typeface="Lucida Console" panose="020B0609040504020204" pitchFamily="49" charset="0"/>
              </a:rPr>
              <a:t>AMD External Events Utility</a:t>
            </a:r>
          </a:p>
          <a:p>
            <a:r>
              <a:rPr lang="en-US" sz="900" dirty="0">
                <a:solidFill>
                  <a:srgbClr val="F5F5F5"/>
                </a:solidFill>
                <a:latin typeface="Lucida Console" panose="020B0609040504020204" pitchFamily="49" charset="0"/>
              </a:rPr>
              <a:t>Application Information</a:t>
            </a:r>
          </a:p>
          <a:p>
            <a:r>
              <a:rPr lang="en-US" sz="900" dirty="0">
                <a:solidFill>
                  <a:srgbClr val="F5F5F5"/>
                </a:solidFill>
                <a:latin typeface="Lucida Console" panose="020B0609040504020204" pitchFamily="49" charset="0"/>
              </a:rPr>
              <a:t>Windows Audio Endpoint Builder </a:t>
            </a:r>
          </a:p>
          <a:p>
            <a:endParaRPr lang="en-US" dirty="0"/>
          </a:p>
        </p:txBody>
      </p:sp>
    </p:spTree>
    <p:extLst>
      <p:ext uri="{BB962C8B-B14F-4D97-AF65-F5344CB8AC3E}">
        <p14:creationId xmlns:p14="http://schemas.microsoft.com/office/powerpoint/2010/main" val="1580398672"/>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function is a named block of code that performs an action. When you type the function name, the code in the function runs. </a:t>
            </a:r>
          </a:p>
          <a:p>
            <a:r>
              <a:rPr lang="en-US" dirty="0"/>
              <a:t>Functions</a:t>
            </a:r>
            <a:r>
              <a:rPr lang="en-US" baseline="0" dirty="0"/>
              <a:t> can return objects and data as well as executing code.</a:t>
            </a:r>
          </a:p>
          <a:p>
            <a:r>
              <a:rPr lang="en-US" baseline="0" dirty="0"/>
              <a:t>Functions can also take parameters as input.</a:t>
            </a:r>
          </a:p>
          <a:p>
            <a:r>
              <a:rPr lang="en-US" baseline="0" dirty="0"/>
              <a:t>Functions must be defined in the script before they are called.</a:t>
            </a:r>
          </a:p>
          <a:p>
            <a:endParaRPr lang="en-US" baseline="0" dirty="0"/>
          </a:p>
          <a:p>
            <a:r>
              <a:rPr lang="en-US" baseline="0" dirty="0"/>
              <a:t>DEMO </a:t>
            </a:r>
          </a:p>
          <a:p>
            <a:endParaRPr lang="en-US" baseline="0" dirty="0"/>
          </a:p>
          <a:p>
            <a:r>
              <a:rPr lang="en-US" sz="900" dirty="0">
                <a:solidFill>
                  <a:srgbClr val="E0FFFF"/>
                </a:solidFill>
                <a:latin typeface="Lucida Console" panose="020B0609040504020204" pitchFamily="49" charset="0"/>
              </a:rPr>
              <a:t>Function</a:t>
            </a:r>
            <a:r>
              <a:rPr lang="en-US" sz="900" dirty="0">
                <a:solidFill>
                  <a:srgbClr val="F5F5F5"/>
                </a:solidFill>
                <a:latin typeface="Lucida Console" panose="020B0609040504020204" pitchFamily="49" charset="0"/>
              </a:rPr>
              <a:t> </a:t>
            </a:r>
            <a:r>
              <a:rPr lang="en-US" sz="900" dirty="0">
                <a:solidFill>
                  <a:srgbClr val="EE82EE"/>
                </a:solidFill>
                <a:latin typeface="Lucida Console" panose="020B0609040504020204" pitchFamily="49" charset="0"/>
              </a:rPr>
              <a:t>Write-</a:t>
            </a:r>
            <a:r>
              <a:rPr lang="en-US" sz="900" dirty="0" err="1">
                <a:solidFill>
                  <a:srgbClr val="EE82EE"/>
                </a:solidFill>
                <a:latin typeface="Lucida Console" panose="020B0609040504020204" pitchFamily="49" charset="0"/>
              </a:rPr>
              <a:t>ServiceStatus</a:t>
            </a:r>
            <a:endParaRPr lang="en-US" sz="900" dirty="0">
              <a:solidFill>
                <a:srgbClr val="EE82EE"/>
              </a:solidFill>
              <a:latin typeface="Lucida Console" panose="020B0609040504020204" pitchFamily="49" charset="0"/>
            </a:endParaRPr>
          </a:p>
          <a:p>
            <a:r>
              <a:rPr lang="en-US" sz="900" dirty="0">
                <a:solidFill>
                  <a:srgbClr val="F5F5F5"/>
                </a:solidFill>
                <a:latin typeface="Lucida Console" panose="020B0609040504020204" pitchFamily="49" charset="0"/>
              </a:rPr>
              <a:t>{</a:t>
            </a:r>
          </a:p>
          <a:p>
            <a:r>
              <a:rPr lang="en-US" sz="900" dirty="0">
                <a:solidFill>
                  <a:srgbClr val="F5F5F5"/>
                </a:solidFill>
                <a:latin typeface="Lucida Console" panose="020B0609040504020204" pitchFamily="49" charset="0"/>
              </a:rPr>
              <a:t>  Param (</a:t>
            </a:r>
            <a:r>
              <a:rPr lang="en-US" sz="900" dirty="0">
                <a:solidFill>
                  <a:srgbClr val="FF4500"/>
                </a:solidFill>
                <a:latin typeface="Lucida Console" panose="020B0609040504020204" pitchFamily="49" charset="0"/>
              </a:rPr>
              <a:t>$Service</a:t>
            </a:r>
            <a:r>
              <a:rPr lang="en-US" sz="900" dirty="0">
                <a:solidFill>
                  <a:srgbClr val="E0FFFF"/>
                </a:solidFill>
                <a:latin typeface="Lucida Console" panose="020B0609040504020204" pitchFamily="49" charset="0"/>
              </a:rPr>
              <a:t>,</a:t>
            </a:r>
          </a:p>
          <a:p>
            <a:r>
              <a:rPr lang="en-US" sz="900" dirty="0">
                <a:solidFill>
                  <a:srgbClr val="FF4500"/>
                </a:solidFill>
                <a:latin typeface="Lucida Console" panose="020B0609040504020204" pitchFamily="49" charset="0"/>
              </a:rPr>
              <a:t>         $Color </a:t>
            </a:r>
            <a:r>
              <a:rPr lang="en-US" sz="900" dirty="0">
                <a:solidFill>
                  <a:srgbClr val="D3D3D3"/>
                </a:solidFill>
                <a:latin typeface="Lucida Console" panose="020B0609040504020204" pitchFamily="49" charset="0"/>
              </a:rPr>
              <a:t>=</a:t>
            </a:r>
            <a:r>
              <a:rPr lang="en-US" sz="900" dirty="0">
                <a:solidFill>
                  <a:srgbClr val="F5F5F5"/>
                </a:solidFill>
                <a:latin typeface="Lucida Console" panose="020B0609040504020204" pitchFamily="49" charset="0"/>
              </a:rPr>
              <a:t> </a:t>
            </a:r>
            <a:r>
              <a:rPr lang="en-US" sz="900" dirty="0">
                <a:solidFill>
                  <a:srgbClr val="DB7093"/>
                </a:solidFill>
                <a:latin typeface="Lucida Console" panose="020B0609040504020204" pitchFamily="49" charset="0"/>
              </a:rPr>
              <a:t>“Blue”</a:t>
            </a:r>
            <a:r>
              <a:rPr lang="en-US" sz="900" dirty="0">
                <a:solidFill>
                  <a:srgbClr val="F5F5F5"/>
                </a:solidFill>
                <a:latin typeface="Lucida Console" panose="020B0609040504020204" pitchFamily="49" charset="0"/>
              </a:rPr>
              <a:t>)</a:t>
            </a:r>
          </a:p>
          <a:p>
            <a:r>
              <a:rPr lang="en-US" sz="900" dirty="0">
                <a:solidFill>
                  <a:srgbClr val="F5F5F5"/>
                </a:solidFill>
                <a:latin typeface="Lucida Console" panose="020B0609040504020204" pitchFamily="49" charset="0"/>
              </a:rPr>
              <a:t>  </a:t>
            </a:r>
            <a:r>
              <a:rPr lang="en-US" sz="900" dirty="0">
                <a:solidFill>
                  <a:srgbClr val="FF4500"/>
                </a:solidFill>
                <a:latin typeface="Lucida Console" panose="020B0609040504020204" pitchFamily="49" charset="0"/>
              </a:rPr>
              <a:t>$SVC</a:t>
            </a:r>
            <a:r>
              <a:rPr lang="en-US" sz="900" dirty="0">
                <a:solidFill>
                  <a:srgbClr val="F5F5F5"/>
                </a:solidFill>
                <a:latin typeface="Lucida Console" panose="020B0609040504020204" pitchFamily="49" charset="0"/>
              </a:rPr>
              <a:t> </a:t>
            </a:r>
            <a:r>
              <a:rPr lang="en-US" sz="900" dirty="0">
                <a:solidFill>
                  <a:srgbClr val="D3D3D3"/>
                </a:solidFill>
                <a:latin typeface="Lucida Console" panose="020B0609040504020204" pitchFamily="49" charset="0"/>
              </a:rPr>
              <a:t>=</a:t>
            </a:r>
            <a:r>
              <a:rPr lang="en-US" sz="900" dirty="0">
                <a:solidFill>
                  <a:srgbClr val="F5F5F5"/>
                </a:solidFill>
                <a:latin typeface="Lucida Console" panose="020B0609040504020204" pitchFamily="49" charset="0"/>
              </a:rPr>
              <a:t> </a:t>
            </a:r>
            <a:r>
              <a:rPr lang="en-US" sz="900" dirty="0">
                <a:solidFill>
                  <a:srgbClr val="E0FFFF"/>
                </a:solidFill>
                <a:latin typeface="Lucida Console" panose="020B0609040504020204" pitchFamily="49" charset="0"/>
              </a:rPr>
              <a:t>Get-Service</a:t>
            </a:r>
            <a:r>
              <a:rPr lang="en-US" sz="900" dirty="0">
                <a:solidFill>
                  <a:srgbClr val="F5F5F5"/>
                </a:solidFill>
                <a:latin typeface="Lucida Console" panose="020B0609040504020204" pitchFamily="49" charset="0"/>
              </a:rPr>
              <a:t> </a:t>
            </a:r>
            <a:r>
              <a:rPr lang="en-US" sz="900" dirty="0">
                <a:solidFill>
                  <a:srgbClr val="FFE4B5"/>
                </a:solidFill>
                <a:latin typeface="Lucida Console" panose="020B0609040504020204" pitchFamily="49" charset="0"/>
              </a:rPr>
              <a:t>-Name</a:t>
            </a:r>
            <a:r>
              <a:rPr lang="en-US" sz="900" dirty="0">
                <a:solidFill>
                  <a:srgbClr val="F5F5F5"/>
                </a:solidFill>
                <a:latin typeface="Lucida Console" panose="020B0609040504020204" pitchFamily="49" charset="0"/>
              </a:rPr>
              <a:t> </a:t>
            </a:r>
            <a:r>
              <a:rPr lang="en-US" sz="900" dirty="0">
                <a:solidFill>
                  <a:srgbClr val="FF4500"/>
                </a:solidFill>
                <a:latin typeface="Lucida Console" panose="020B0609040504020204" pitchFamily="49" charset="0"/>
              </a:rPr>
              <a:t>$Service</a:t>
            </a:r>
          </a:p>
          <a:p>
            <a:r>
              <a:rPr lang="en-US" sz="900" dirty="0">
                <a:solidFill>
                  <a:srgbClr val="FF4500"/>
                </a:solidFill>
                <a:latin typeface="Lucida Console" panose="020B0609040504020204" pitchFamily="49" charset="0"/>
              </a:rPr>
              <a:t>  $Name</a:t>
            </a:r>
            <a:r>
              <a:rPr lang="en-US" sz="900" dirty="0">
                <a:solidFill>
                  <a:srgbClr val="F5F5F5"/>
                </a:solidFill>
                <a:latin typeface="Lucida Console" panose="020B0609040504020204" pitchFamily="49" charset="0"/>
              </a:rPr>
              <a:t> </a:t>
            </a:r>
            <a:r>
              <a:rPr lang="en-US" sz="900" dirty="0">
                <a:solidFill>
                  <a:srgbClr val="D3D3D3"/>
                </a:solidFill>
                <a:latin typeface="Lucida Console" panose="020B0609040504020204" pitchFamily="49" charset="0"/>
              </a:rPr>
              <a:t>=</a:t>
            </a:r>
            <a:r>
              <a:rPr lang="en-US" sz="900" dirty="0">
                <a:solidFill>
                  <a:srgbClr val="F5F5F5"/>
                </a:solidFill>
                <a:latin typeface="Lucida Console" panose="020B0609040504020204" pitchFamily="49" charset="0"/>
              </a:rPr>
              <a:t> </a:t>
            </a:r>
            <a:r>
              <a:rPr lang="en-US" sz="900" dirty="0">
                <a:solidFill>
                  <a:srgbClr val="FF4500"/>
                </a:solidFill>
                <a:latin typeface="Lucida Console" panose="020B0609040504020204" pitchFamily="49" charset="0"/>
              </a:rPr>
              <a:t>$</a:t>
            </a:r>
            <a:r>
              <a:rPr lang="en-US" sz="900" dirty="0" err="1">
                <a:solidFill>
                  <a:srgbClr val="FF4500"/>
                </a:solidFill>
                <a:latin typeface="Lucida Console" panose="020B0609040504020204" pitchFamily="49" charset="0"/>
              </a:rPr>
              <a:t>SVC</a:t>
            </a:r>
            <a:r>
              <a:rPr lang="en-US" sz="900" dirty="0" err="1">
                <a:solidFill>
                  <a:srgbClr val="D3D3D3"/>
                </a:solidFill>
                <a:latin typeface="Lucida Console" panose="020B0609040504020204" pitchFamily="49" charset="0"/>
              </a:rPr>
              <a:t>.</a:t>
            </a:r>
            <a:r>
              <a:rPr lang="en-US" sz="900" dirty="0" err="1">
                <a:solidFill>
                  <a:srgbClr val="F5F5F5"/>
                </a:solidFill>
                <a:latin typeface="Lucida Console" panose="020B0609040504020204" pitchFamily="49" charset="0"/>
              </a:rPr>
              <a:t>DisplayName</a:t>
            </a:r>
            <a:endParaRPr lang="en-US" sz="900" dirty="0">
              <a:solidFill>
                <a:srgbClr val="F5F5F5"/>
              </a:solidFill>
              <a:latin typeface="Lucida Console" panose="020B0609040504020204" pitchFamily="49" charset="0"/>
            </a:endParaRPr>
          </a:p>
          <a:p>
            <a:r>
              <a:rPr lang="en-US" sz="900" dirty="0">
                <a:solidFill>
                  <a:srgbClr val="F5F5F5"/>
                </a:solidFill>
                <a:latin typeface="Lucida Console" panose="020B0609040504020204" pitchFamily="49" charset="0"/>
              </a:rPr>
              <a:t>  </a:t>
            </a:r>
            <a:r>
              <a:rPr lang="en-US" sz="900" dirty="0">
                <a:solidFill>
                  <a:srgbClr val="FF4500"/>
                </a:solidFill>
                <a:latin typeface="Lucida Console" panose="020B0609040504020204" pitchFamily="49" charset="0"/>
              </a:rPr>
              <a:t>$Status</a:t>
            </a:r>
            <a:r>
              <a:rPr lang="en-US" sz="900" dirty="0">
                <a:solidFill>
                  <a:srgbClr val="F5F5F5"/>
                </a:solidFill>
                <a:latin typeface="Lucida Console" panose="020B0609040504020204" pitchFamily="49" charset="0"/>
              </a:rPr>
              <a:t> </a:t>
            </a:r>
            <a:r>
              <a:rPr lang="en-US" sz="900" dirty="0">
                <a:solidFill>
                  <a:srgbClr val="D3D3D3"/>
                </a:solidFill>
                <a:latin typeface="Lucida Console" panose="020B0609040504020204" pitchFamily="49" charset="0"/>
              </a:rPr>
              <a:t>=</a:t>
            </a:r>
            <a:r>
              <a:rPr lang="en-US" sz="900" dirty="0">
                <a:solidFill>
                  <a:srgbClr val="F5F5F5"/>
                </a:solidFill>
                <a:latin typeface="Lucida Console" panose="020B0609040504020204" pitchFamily="49" charset="0"/>
              </a:rPr>
              <a:t> </a:t>
            </a:r>
            <a:r>
              <a:rPr lang="en-US" sz="900" dirty="0">
                <a:solidFill>
                  <a:srgbClr val="FF4500"/>
                </a:solidFill>
                <a:latin typeface="Lucida Console" panose="020B0609040504020204" pitchFamily="49" charset="0"/>
              </a:rPr>
              <a:t>$</a:t>
            </a:r>
            <a:r>
              <a:rPr lang="en-US" sz="900" dirty="0" err="1">
                <a:solidFill>
                  <a:srgbClr val="FF4500"/>
                </a:solidFill>
                <a:latin typeface="Lucida Console" panose="020B0609040504020204" pitchFamily="49" charset="0"/>
              </a:rPr>
              <a:t>SVC</a:t>
            </a:r>
            <a:r>
              <a:rPr lang="en-US" sz="900" dirty="0" err="1">
                <a:solidFill>
                  <a:srgbClr val="D3D3D3"/>
                </a:solidFill>
                <a:latin typeface="Lucida Console" panose="020B0609040504020204" pitchFamily="49" charset="0"/>
              </a:rPr>
              <a:t>.</a:t>
            </a:r>
            <a:r>
              <a:rPr lang="en-US" sz="900" dirty="0" err="1">
                <a:solidFill>
                  <a:srgbClr val="F5F5F5"/>
                </a:solidFill>
                <a:latin typeface="Lucida Console" panose="020B0609040504020204" pitchFamily="49" charset="0"/>
              </a:rPr>
              <a:t>Status</a:t>
            </a:r>
            <a:endParaRPr lang="en-US" sz="900" dirty="0">
              <a:solidFill>
                <a:srgbClr val="F5F5F5"/>
              </a:solidFill>
              <a:latin typeface="Lucida Console" panose="020B0609040504020204" pitchFamily="49" charset="0"/>
            </a:endParaRPr>
          </a:p>
          <a:p>
            <a:r>
              <a:rPr lang="en-US" sz="900" dirty="0">
                <a:solidFill>
                  <a:srgbClr val="F5F5F5"/>
                </a:solidFill>
                <a:latin typeface="Lucida Console" panose="020B0609040504020204" pitchFamily="49" charset="0"/>
              </a:rPr>
              <a:t>  </a:t>
            </a:r>
            <a:r>
              <a:rPr lang="en-US" sz="900" dirty="0">
                <a:solidFill>
                  <a:srgbClr val="E0FFFF"/>
                </a:solidFill>
                <a:latin typeface="Lucida Console" panose="020B0609040504020204" pitchFamily="49" charset="0"/>
              </a:rPr>
              <a:t>Write-Host</a:t>
            </a:r>
            <a:r>
              <a:rPr lang="en-US" sz="900" dirty="0">
                <a:solidFill>
                  <a:srgbClr val="F5F5F5"/>
                </a:solidFill>
                <a:latin typeface="Lucida Console" panose="020B0609040504020204" pitchFamily="49" charset="0"/>
              </a:rPr>
              <a:t> </a:t>
            </a:r>
            <a:r>
              <a:rPr lang="en-US" sz="900" dirty="0">
                <a:solidFill>
                  <a:srgbClr val="DB7093"/>
                </a:solidFill>
                <a:latin typeface="Lucida Console" panose="020B0609040504020204" pitchFamily="49" charset="0"/>
              </a:rPr>
              <a:t>"The service </a:t>
            </a:r>
            <a:r>
              <a:rPr lang="en-US" sz="900" dirty="0">
                <a:solidFill>
                  <a:srgbClr val="FF4500"/>
                </a:solidFill>
                <a:latin typeface="Lucida Console" panose="020B0609040504020204" pitchFamily="49" charset="0"/>
              </a:rPr>
              <a:t>$Name</a:t>
            </a:r>
            <a:r>
              <a:rPr lang="en-US" sz="900" dirty="0">
                <a:solidFill>
                  <a:srgbClr val="DB7093"/>
                </a:solidFill>
                <a:latin typeface="Lucida Console" panose="020B0609040504020204" pitchFamily="49" charset="0"/>
              </a:rPr>
              <a:t> is currently </a:t>
            </a:r>
            <a:r>
              <a:rPr lang="en-US" sz="900" dirty="0">
                <a:solidFill>
                  <a:srgbClr val="FF4500"/>
                </a:solidFill>
                <a:latin typeface="Lucida Console" panose="020B0609040504020204" pitchFamily="49" charset="0"/>
              </a:rPr>
              <a:t>$Status</a:t>
            </a:r>
            <a:r>
              <a:rPr lang="en-US" sz="900" dirty="0">
                <a:solidFill>
                  <a:srgbClr val="DB7093"/>
                </a:solidFill>
                <a:latin typeface="Lucida Console" panose="020B0609040504020204" pitchFamily="49" charset="0"/>
              </a:rPr>
              <a:t>"</a:t>
            </a:r>
            <a:r>
              <a:rPr lang="en-US" sz="900" dirty="0">
                <a:solidFill>
                  <a:srgbClr val="F5F5F5"/>
                </a:solidFill>
                <a:latin typeface="Lucida Console" panose="020B0609040504020204" pitchFamily="49" charset="0"/>
              </a:rPr>
              <a:t> </a:t>
            </a:r>
            <a:r>
              <a:rPr lang="en-US" sz="900" dirty="0">
                <a:solidFill>
                  <a:srgbClr val="FFE4B5"/>
                </a:solidFill>
                <a:latin typeface="Lucida Console" panose="020B0609040504020204" pitchFamily="49" charset="0"/>
              </a:rPr>
              <a:t>–</a:t>
            </a:r>
            <a:r>
              <a:rPr lang="en-US" sz="900" dirty="0" err="1">
                <a:solidFill>
                  <a:srgbClr val="FFE4B5"/>
                </a:solidFill>
                <a:latin typeface="Lucida Console" panose="020B0609040504020204" pitchFamily="49" charset="0"/>
              </a:rPr>
              <a:t>ForegroundColor</a:t>
            </a:r>
            <a:r>
              <a:rPr lang="en-US" sz="900" dirty="0">
                <a:solidFill>
                  <a:srgbClr val="FFE4B5"/>
                </a:solidFill>
                <a:latin typeface="Lucida Console" panose="020B0609040504020204" pitchFamily="49" charset="0"/>
              </a:rPr>
              <a:t> </a:t>
            </a:r>
            <a:r>
              <a:rPr lang="en-US" sz="900" dirty="0">
                <a:solidFill>
                  <a:srgbClr val="FF4500"/>
                </a:solidFill>
                <a:latin typeface="Lucida Console" panose="020B0609040504020204" pitchFamily="49" charset="0"/>
              </a:rPr>
              <a:t>$Color</a:t>
            </a:r>
            <a:endParaRPr lang="en-US" sz="900" dirty="0">
              <a:solidFill>
                <a:srgbClr val="F5F5F5"/>
              </a:solidFill>
              <a:latin typeface="Lucida Console" panose="020B0609040504020204" pitchFamily="49" charset="0"/>
            </a:endParaRPr>
          </a:p>
          <a:p>
            <a:r>
              <a:rPr lang="en-US" sz="900" dirty="0">
                <a:solidFill>
                  <a:srgbClr val="F5F5F5"/>
                </a:solidFill>
                <a:latin typeface="Lucida Console" panose="020B0609040504020204" pitchFamily="49" charset="0"/>
              </a:rPr>
              <a:t>}</a:t>
            </a:r>
          </a:p>
          <a:p>
            <a:endParaRPr lang="en-US" sz="900" dirty="0">
              <a:solidFill>
                <a:srgbClr val="F5F5F5"/>
              </a:solidFill>
              <a:latin typeface="Lucida Console" panose="020B0609040504020204" pitchFamily="49" charset="0"/>
            </a:endParaRPr>
          </a:p>
          <a:p>
            <a:r>
              <a:rPr lang="en-US" sz="900" dirty="0">
                <a:solidFill>
                  <a:srgbClr val="F5F5F5"/>
                </a:solidFill>
                <a:latin typeface="Lucida Console" panose="020B0609040504020204" pitchFamily="49" charset="0"/>
              </a:rPr>
              <a:t>PS&gt; Write-</a:t>
            </a:r>
            <a:r>
              <a:rPr lang="en-US" sz="900" dirty="0" err="1">
                <a:solidFill>
                  <a:srgbClr val="F5F5F5"/>
                </a:solidFill>
                <a:latin typeface="Lucida Console" panose="020B0609040504020204" pitchFamily="49" charset="0"/>
              </a:rPr>
              <a:t>ServiceStatus</a:t>
            </a:r>
            <a:r>
              <a:rPr lang="en-US" sz="900" dirty="0">
                <a:solidFill>
                  <a:srgbClr val="F5F5F5"/>
                </a:solidFill>
                <a:latin typeface="Lucida Console" panose="020B0609040504020204" pitchFamily="49" charset="0"/>
              </a:rPr>
              <a:t> </a:t>
            </a:r>
            <a:r>
              <a:rPr lang="en-US" sz="900" dirty="0"/>
              <a:t> </a:t>
            </a:r>
            <a:r>
              <a:rPr lang="en-US" sz="900" dirty="0">
                <a:solidFill>
                  <a:srgbClr val="FFE4B5"/>
                </a:solidFill>
                <a:latin typeface="Lucida Console" panose="020B0609040504020204" pitchFamily="49" charset="0"/>
              </a:rPr>
              <a:t>-Service</a:t>
            </a:r>
            <a:r>
              <a:rPr lang="en-US" sz="900" dirty="0">
                <a:solidFill>
                  <a:srgbClr val="F5F5F5"/>
                </a:solidFill>
                <a:latin typeface="Lucida Console" panose="020B0609040504020204" pitchFamily="49" charset="0"/>
              </a:rPr>
              <a:t> </a:t>
            </a:r>
            <a:r>
              <a:rPr lang="en-US" sz="900" dirty="0" err="1">
                <a:solidFill>
                  <a:srgbClr val="EE82EE"/>
                </a:solidFill>
                <a:latin typeface="Lucida Console" panose="020B0609040504020204" pitchFamily="49" charset="0"/>
              </a:rPr>
              <a:t>WinRM</a:t>
            </a:r>
            <a:r>
              <a:rPr lang="en-US" sz="900" dirty="0">
                <a:solidFill>
                  <a:srgbClr val="EE82EE"/>
                </a:solidFill>
                <a:latin typeface="Lucida Console" panose="020B0609040504020204" pitchFamily="49" charset="0"/>
              </a:rPr>
              <a:t> </a:t>
            </a:r>
            <a:r>
              <a:rPr lang="en-US" sz="900" dirty="0">
                <a:solidFill>
                  <a:srgbClr val="FFE4B5"/>
                </a:solidFill>
                <a:latin typeface="Lucida Console" panose="020B0609040504020204" pitchFamily="49" charset="0"/>
              </a:rPr>
              <a:t>-Color</a:t>
            </a:r>
            <a:r>
              <a:rPr lang="en-US" sz="900" dirty="0">
                <a:solidFill>
                  <a:srgbClr val="F5F5F5"/>
                </a:solidFill>
                <a:latin typeface="Lucida Console" panose="020B0609040504020204" pitchFamily="49" charset="0"/>
              </a:rPr>
              <a:t> </a:t>
            </a:r>
            <a:r>
              <a:rPr lang="en-US" sz="900" dirty="0">
                <a:solidFill>
                  <a:srgbClr val="EE82EE"/>
                </a:solidFill>
                <a:latin typeface="Lucida Console" panose="020B0609040504020204" pitchFamily="49" charset="0"/>
              </a:rPr>
              <a:t>Green</a:t>
            </a:r>
          </a:p>
          <a:p>
            <a:r>
              <a:rPr lang="en-US" sz="900" dirty="0">
                <a:solidFill>
                  <a:srgbClr val="00FF00"/>
                </a:solidFill>
                <a:latin typeface="Lucida Console" panose="020B0609040504020204" pitchFamily="49" charset="0"/>
              </a:rPr>
              <a:t>The Service Windows Remote Management (WS-Management) is currently Stopped</a:t>
            </a:r>
            <a:endParaRPr lang="en-US" dirty="0"/>
          </a:p>
        </p:txBody>
      </p:sp>
      <p:sp>
        <p:nvSpPr>
          <p:cNvPr id="4" name="Footer Placeholder 3"/>
          <p:cNvSpPr>
            <a:spLocks noGrp="1"/>
          </p:cNvSpPr>
          <p:nvPr>
            <p:ph type="ftr" sz="quarter" idx="10"/>
          </p:nvPr>
        </p:nvSpPr>
        <p:spPr>
          <a:xfrm>
            <a:off x="0" y="8915400"/>
            <a:ext cx="4572000" cy="314033"/>
          </a:xfrm>
          <a:prstGeom prst="rect">
            <a:avLst/>
          </a:prstGeom>
        </p:spPr>
        <p:txBody>
          <a:bodyPr/>
          <a:lstStyle/>
          <a:p>
            <a:r>
              <a:rPr lang="en-US" dirty="0"/>
              <a:t>© 2011 Microsoft Corporation    	Microsoft Confidential</a:t>
            </a:r>
          </a:p>
        </p:txBody>
      </p:sp>
      <p:sp>
        <p:nvSpPr>
          <p:cNvPr id="5" name="Slide Number Placeholder 4"/>
          <p:cNvSpPr>
            <a:spLocks noGrp="1"/>
          </p:cNvSpPr>
          <p:nvPr>
            <p:ph type="sldNum" sz="quarter" idx="11"/>
          </p:nvPr>
        </p:nvSpPr>
        <p:spPr>
          <a:xfrm>
            <a:off x="5257800" y="8829967"/>
            <a:ext cx="1750978" cy="464820"/>
          </a:xfrm>
          <a:prstGeom prst="rect">
            <a:avLst/>
          </a:prstGeom>
        </p:spPr>
        <p:txBody>
          <a:bodyPr/>
          <a:lstStyle/>
          <a:p>
            <a:fld id="{89920E16-7E2D-4061-8759-5F8497A7A433}" type="slidenum">
              <a:rPr lang="en-US"/>
              <a:pPr/>
              <a:t>8</a:t>
            </a:fld>
            <a:endParaRPr lang="en-US" dirty="0"/>
          </a:p>
        </p:txBody>
      </p:sp>
    </p:spTree>
    <p:extLst>
      <p:ext uri="{BB962C8B-B14F-4D97-AF65-F5344CB8AC3E}">
        <p14:creationId xmlns:p14="http://schemas.microsoft.com/office/powerpoint/2010/main" val="652486197"/>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Arial" charset="0"/>
                <a:ea typeface="+mn-ea"/>
                <a:cs typeface="+mn-cs"/>
              </a:rPr>
              <a:t>The file extension for PowerShell script files is .ps1 for both PowerShell v1, v2,</a:t>
            </a:r>
            <a:r>
              <a:rPr lang="en-US" sz="1200" kern="1200" baseline="0" dirty="0">
                <a:solidFill>
                  <a:schemeClr val="tx1"/>
                </a:solidFill>
                <a:effectLst/>
                <a:latin typeface="Arial" charset="0"/>
                <a:ea typeface="+mn-ea"/>
                <a:cs typeface="+mn-cs"/>
              </a:rPr>
              <a:t> v3 and v4</a:t>
            </a:r>
            <a:endParaRPr lang="en-US" sz="1200" kern="1200" dirty="0">
              <a:solidFill>
                <a:schemeClr val="tx1"/>
              </a:solidFill>
              <a:effectLst/>
              <a:latin typeface="Arial" charset="0"/>
              <a:ea typeface="+mn-ea"/>
              <a:cs typeface="+mn-cs"/>
            </a:endParaRPr>
          </a:p>
          <a:p>
            <a:endParaRPr lang="en-US" sz="1200" kern="1200" dirty="0">
              <a:solidFill>
                <a:schemeClr val="tx1"/>
              </a:solidFill>
              <a:effectLst/>
              <a:latin typeface="Arial" charset="0"/>
              <a:ea typeface="+mn-ea"/>
              <a:cs typeface="+mn-cs"/>
            </a:endParaRPr>
          </a:p>
          <a:p>
            <a:r>
              <a:rPr lang="en-US" sz="1200" kern="1200" dirty="0">
                <a:solidFill>
                  <a:schemeClr val="tx1"/>
                </a:solidFill>
                <a:effectLst/>
                <a:latin typeface="Arial" charset="0"/>
                <a:ea typeface="+mn-ea"/>
                <a:cs typeface="+mn-cs"/>
              </a:rPr>
              <a:t>To help stop scripts being accidentally run (with potentially devastating results), ps1 files cannot be executed by double clicking them in Windows Explorer; they are associated with notepad.  </a:t>
            </a:r>
          </a:p>
          <a:p>
            <a:endParaRPr lang="en-US" sz="1200" kern="1200" dirty="0">
              <a:solidFill>
                <a:schemeClr val="tx1"/>
              </a:solidFill>
              <a:effectLst/>
              <a:latin typeface="Arial" charset="0"/>
              <a:ea typeface="+mn-ea"/>
              <a:cs typeface="+mn-cs"/>
            </a:endParaRPr>
          </a:p>
          <a:p>
            <a:r>
              <a:rPr lang="en-US" sz="1200" kern="1200" dirty="0">
                <a:solidFill>
                  <a:schemeClr val="tx1"/>
                </a:solidFill>
                <a:effectLst/>
                <a:latin typeface="Arial" charset="0"/>
                <a:ea typeface="+mn-ea"/>
                <a:cs typeface="+mn-cs"/>
              </a:rPr>
              <a:t>When running scripts directly from the PowerShell console, even when in the same directory as the script you must prefix the script name with “.\”.  </a:t>
            </a:r>
          </a:p>
          <a:p>
            <a:endParaRPr lang="en-US" sz="1200" kern="1200" dirty="0">
              <a:solidFill>
                <a:schemeClr val="tx1"/>
              </a:solidFill>
              <a:effectLst/>
              <a:latin typeface="Arial" charset="0"/>
              <a:ea typeface="+mn-ea"/>
              <a:cs typeface="+mn-cs"/>
            </a:endParaRPr>
          </a:p>
          <a:p>
            <a:r>
              <a:rPr lang="en-US" sz="1200" kern="1200" dirty="0">
                <a:solidFill>
                  <a:schemeClr val="tx1"/>
                </a:solidFill>
                <a:effectLst/>
                <a:latin typeface="Arial" charset="0"/>
                <a:ea typeface="+mn-ea"/>
                <a:cs typeface="+mn-cs"/>
              </a:rPr>
              <a:t>This means execute the script in the current working directory.  For example: .\myscript.ps1 </a:t>
            </a:r>
          </a:p>
        </p:txBody>
      </p:sp>
    </p:spTree>
    <p:extLst>
      <p:ext uri="{BB962C8B-B14F-4D97-AF65-F5344CB8AC3E}">
        <p14:creationId xmlns:p14="http://schemas.microsoft.com/office/powerpoint/2010/main" val="42390169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 Select Logo</a:t>
            </a:r>
          </a:p>
        </p:txBody>
      </p:sp>
    </p:spTree>
    <p:extLst>
      <p:ext uri="{BB962C8B-B14F-4D97-AF65-F5344CB8AC3E}">
        <p14:creationId xmlns:p14="http://schemas.microsoft.com/office/powerpoint/2010/main" val="24789390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18628521"/>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81201757"/>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525651"/>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4354461"/>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59543422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671393474"/>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12676942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811395006"/>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811723256"/>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117532731"/>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Tree>
    <p:extLst>
      <p:ext uri="{BB962C8B-B14F-4D97-AF65-F5344CB8AC3E}">
        <p14:creationId xmlns:p14="http://schemas.microsoft.com/office/powerpoint/2010/main" val="1156217018"/>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35467801"/>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30722901"/>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647255560"/>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8885624"/>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037458"/>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21214498"/>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298503"/>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1597983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7352308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82930884"/>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51507426"/>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16244906"/>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28805880"/>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47254762"/>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44809431"/>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6064956"/>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5911519"/>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dirty="0"/>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66153333"/>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96486783"/>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488309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79966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230331982"/>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137887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7219691"/>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37369017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12822208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890882054"/>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88A36C-BC63-4BAF-B681-46924F4FEF7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E6B00F91-76AF-4D03-A6BF-A8C5D64009A9}"/>
              </a:ext>
              <a:ext uri="{C183D7F6-B498-43B3-948B-1728B52AA6E4}">
                <adec:decorative xmlns:adec="http://schemas.microsoft.com/office/drawing/2017/decorative" val="0"/>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 Select Logo</a:t>
            </a:r>
          </a:p>
        </p:txBody>
      </p:sp>
    </p:spTree>
    <p:extLst>
      <p:ext uri="{BB962C8B-B14F-4D97-AF65-F5344CB8AC3E}">
        <p14:creationId xmlns:p14="http://schemas.microsoft.com/office/powerpoint/2010/main" val="24789390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B21D95A3-707B-494A-8F6A-B2065D3E09E2}"/>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0442A5CB-2756-47D2-94A4-25B9E27E02AB}"/>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dirty="0"/>
              <a:t>Presentation Title</a:t>
            </a:r>
          </a:p>
        </p:txBody>
      </p:sp>
      <p:sp>
        <p:nvSpPr>
          <p:cNvPr id="5" name="Text Placeholder 4">
            <a:extLst>
              <a:ext uri="{FF2B5EF4-FFF2-40B4-BE49-F238E27FC236}">
                <a16:creationId xmlns:a16="http://schemas.microsoft.com/office/drawing/2014/main" id="{1FA97999-5655-43B5-8C83-B51E643EF449}"/>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Tree>
    <p:extLst>
      <p:ext uri="{BB962C8B-B14F-4D97-AF65-F5344CB8AC3E}">
        <p14:creationId xmlns:p14="http://schemas.microsoft.com/office/powerpoint/2010/main" val="1156217018"/>
      </p:ext>
    </p:extLst>
  </p:cSld>
  <p:clrMapOvr>
    <a:masterClrMapping/>
  </p:clrMapOvr>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47E9D3B8-4995-4497-883C-57B842669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51507426"/>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a:noFill/>
        </p:spPr>
        <p:txBody>
          <a:bodyPr bIns="45720" anchor="b">
            <a:noAutofit/>
          </a:bodyPr>
          <a:lstStyle>
            <a:lvl1pPr algn="l">
              <a:defRPr sz="3600">
                <a:solidFill>
                  <a:srgbClr val="000000"/>
                </a:solidFill>
              </a:defRPr>
            </a:lvl1pPr>
          </a:lstStyle>
          <a:p>
            <a:r>
              <a:rPr lang="en-US" noProof="0"/>
              <a:t>Click to edit Master title style</a:t>
            </a:r>
            <a:endParaRPr lang="en-US" noProof="0" dirty="0"/>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endParaRPr lang="en-US" noProof="0" dirty="0"/>
          </a:p>
        </p:txBody>
      </p:sp>
      <p:sp>
        <p:nvSpPr>
          <p:cNvPr id="12" name="Picture Placeholder 8">
            <a:extLst>
              <a:ext uri="{FF2B5EF4-FFF2-40B4-BE49-F238E27FC236}">
                <a16:creationId xmlns:a16="http://schemas.microsoft.com/office/drawing/2014/main" id="{B932132E-B617-4844-ABE7-BFFF16E12CCA}"/>
              </a:ext>
            </a:extLst>
          </p:cNvPr>
          <p:cNvSpPr>
            <a:spLocks noGrp="1"/>
          </p:cNvSpPr>
          <p:nvPr>
            <p:ph type="pic" sz="quarter" idx="17" hasCustomPrompt="1"/>
          </p:nvPr>
        </p:nvSpPr>
        <p:spPr>
          <a:xfrm>
            <a:off x="5333682" y="3524"/>
            <a:ext cx="6858000" cy="6858000"/>
          </a:xfrm>
          <a:solidFill>
            <a:schemeClr val="bg1"/>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a:extLst>
              <a:ext uri="{FF2B5EF4-FFF2-40B4-BE49-F238E27FC236}">
                <a16:creationId xmlns:a16="http://schemas.microsoft.com/office/drawing/2014/main" id="{7E765150-9B8A-4E90-9E2E-0FE3601E617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230331982"/>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55">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6085778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endParaRPr lang="en-US" noProof="0" dirty="0"/>
          </a:p>
        </p:txBody>
      </p:sp>
      <p:sp>
        <p:nvSpPr>
          <p:cNvPr id="10" name="2 Subtitle">
            <a:extLst>
              <a:ext uri="{FF2B5EF4-FFF2-40B4-BE49-F238E27FC236}">
                <a16:creationId xmlns:a16="http://schemas.microsoft.com/office/drawing/2014/main" id="{D55E7899-E90B-4B88-95E2-00E3DAC8A7A7}"/>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7B2B8873-2FD0-4CA6-96D3-EB6C967911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260857781"/>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77934271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013463680"/>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2486336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38195070"/>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18628521"/>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81201757"/>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525651"/>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4354461"/>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595434222"/>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endParaRPr lang="en-US" noProof="0" dirty="0"/>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671393474"/>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
        <p:nvSpPr>
          <p:cNvPr id="8" name="2 Subtitle">
            <a:extLst>
              <a:ext uri="{FF2B5EF4-FFF2-40B4-BE49-F238E27FC236}">
                <a16:creationId xmlns:a16="http://schemas.microsoft.com/office/drawing/2014/main" id="{16A44250-24E5-40C9-A0C6-F8F7E55B832B}"/>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rgbClr val="000000"/>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a:extLst>
              <a:ext uri="{FF2B5EF4-FFF2-40B4-BE49-F238E27FC236}">
                <a16:creationId xmlns:a16="http://schemas.microsoft.com/office/drawing/2014/main" id="{13DA2EB4-5DF2-403D-BFDD-4C2B21B71DB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779342713"/>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 Color">
    <p:bg>
      <p:bgPr>
        <a:solidFill>
          <a:srgbClr val="737373"/>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212676942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E6E6E6"/>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rgbClr val="000000"/>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811395006"/>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811723256"/>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2BA849-E620-4C30-BACF-8D6B5D158257}"/>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6" name="1 Title">
            <a:extLst>
              <a:ext uri="{FF2B5EF4-FFF2-40B4-BE49-F238E27FC236}">
                <a16:creationId xmlns:a16="http://schemas.microsoft.com/office/drawing/2014/main" id="{BD9B88E4-190C-4F7B-81CC-01238B1F36BF}"/>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117532731"/>
      </p:ext>
    </p:extLst>
  </p:cSld>
  <p:clrMapOvr>
    <a:masterClrMapping/>
  </p:clrMapOvr>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endParaRPr lang="en-US" noProof="0" dirty="0"/>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35467801"/>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30722901"/>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dirty="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E6E6E6"/>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5" name="2 Subtitle">
            <a:extLst>
              <a:ext uri="{FF2B5EF4-FFF2-40B4-BE49-F238E27FC236}">
                <a16:creationId xmlns:a16="http://schemas.microsoft.com/office/drawing/2014/main" id="{9347F9EC-F1BB-42CE-A353-EFF001250A0F}"/>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647255560"/>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43FA5608-4C5E-4C7D-8DAE-08A3B02645A1}"/>
              </a:ext>
            </a:extLst>
          </p:cNvPr>
          <p:cNvSpPr>
            <a:spLocks noGrp="1"/>
          </p:cNvSpPr>
          <p:nvPr>
            <p:ph type="title" hasCustomPrompt="1"/>
          </p:nvPr>
        </p:nvSpPr>
        <p:spPr>
          <a:xfrm>
            <a:off x="663258" y="-461665"/>
            <a:ext cx="4352926" cy="461665"/>
          </a:xfrm>
        </p:spPr>
        <p:txBody>
          <a:bodyPr anchor="b">
            <a:noAutofit/>
          </a:bodyPr>
          <a:lstStyle>
            <a:lvl1pPr algn="ctr">
              <a:defRPr/>
            </a:lvl1pPr>
          </a:lstStyle>
          <a:p>
            <a:r>
              <a:rPr lang="en-US" noProof="0" dirty="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8885624"/>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dirty="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E6E6E6"/>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23037458"/>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1"/>
            <a:ext cx="12191682" cy="4672013"/>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121214498"/>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endParaRPr lang="en-US" noProof="0" dirty="0"/>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pic>
        <p:nvPicPr>
          <p:cNvPr id="9" name="Picture 8" descr="Microsoft Logo">
            <a:extLst>
              <a:ext uri="{FF2B5EF4-FFF2-40B4-BE49-F238E27FC236}">
                <a16:creationId xmlns:a16="http://schemas.microsoft.com/office/drawing/2014/main" id="{9B4ADFB7-6E01-4D7D-8D44-0FC68CECDD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013463680"/>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E6E6E6"/>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298503"/>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91597983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AFCFF5C5-9399-4727-A79B-706F8A010D5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E6E6E6"/>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73523084"/>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782930884"/>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094A59E2-8D7A-4B5E-94D4-C0D9922BF500}"/>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E6E6E6"/>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16244906"/>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28805880"/>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endParaRPr lang="en-US" dirty="0"/>
          </a:p>
        </p:txBody>
      </p:sp>
      <p:sp>
        <p:nvSpPr>
          <p:cNvPr id="11" name="2 Subtitle">
            <a:extLst>
              <a:ext uri="{FF2B5EF4-FFF2-40B4-BE49-F238E27FC236}">
                <a16:creationId xmlns:a16="http://schemas.microsoft.com/office/drawing/2014/main" id="{F9EAAEB7-AABE-452B-8FFC-D112B4818EC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E6E6E6"/>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547254762"/>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C23B6F60-A422-4774-A893-F6F72F7B22D6}"/>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44809431"/>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6" name="2 Subtitle">
            <a:extLst>
              <a:ext uri="{FF2B5EF4-FFF2-40B4-BE49-F238E27FC236}">
                <a16:creationId xmlns:a16="http://schemas.microsoft.com/office/drawing/2014/main" id="{8F2C19A0-A7BB-4DAA-8F3E-C8260891FB7D}"/>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E6E6E6"/>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52DFC09F-D5CA-4DF7-8673-A157E8B3F8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6064956"/>
      </p:ext>
    </p:extLst>
  </p:cSld>
  <p:clrMapOvr>
    <a:masterClrMapping/>
  </p:clrMapOvr>
  <p:hf sldNum="0"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endParaRPr lang="en-US" dirty="0"/>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3" name="Picture Placeholder 2">
            <a:extLst>
              <a:ext uri="{FF2B5EF4-FFF2-40B4-BE49-F238E27FC236}">
                <a16:creationId xmlns:a16="http://schemas.microsoft.com/office/drawing/2014/main" id="{0DEC932C-684F-41D2-BCA8-8869DE0524D9}"/>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6" name="Text Placeholder 2">
            <a:extLst>
              <a:ext uri="{FF2B5EF4-FFF2-40B4-BE49-F238E27FC236}">
                <a16:creationId xmlns:a16="http://schemas.microsoft.com/office/drawing/2014/main" id="{758BC28E-7238-471F-9FCB-2F750E178DB5}"/>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5911519"/>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2486336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rgbClr val="000000"/>
                </a:solidFill>
              </a:defRPr>
            </a:lvl1pPr>
          </a:lstStyle>
          <a:p>
            <a:r>
              <a:rPr lang="en-US" dirty="0"/>
              <a:t>Title</a:t>
            </a:r>
          </a:p>
        </p:txBody>
      </p:sp>
      <p:sp>
        <p:nvSpPr>
          <p:cNvPr id="5" name="2 Text Placeholder">
            <a:extLst>
              <a:ext uri="{FF2B5EF4-FFF2-40B4-BE49-F238E27FC236}">
                <a16:creationId xmlns:a16="http://schemas.microsoft.com/office/drawing/2014/main" id="{206E366F-7522-4E1B-A403-30AD9B1B27B9}"/>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66153333"/>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dirty="0"/>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rgbClr val="41424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18DE0510-3D61-47C9-A3C6-965784AA920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96486783"/>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4883096"/>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4" name="2 Subtitle">
            <a:extLst>
              <a:ext uri="{FF2B5EF4-FFF2-40B4-BE49-F238E27FC236}">
                <a16:creationId xmlns:a16="http://schemas.microsoft.com/office/drawing/2014/main" id="{FEFC21FB-8EFB-4F7C-80D3-C6600B5FDCB9}"/>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7996670"/>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1378878"/>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color">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7219691"/>
      </p:ext>
    </p:extLst>
  </p:cSld>
  <p:clrMapOvr>
    <a:masterClrMapping/>
  </p:clrMapOvr>
  <p:hf sldNum="0" hdr="0" ftr="0" dt="0"/>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37369017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losing logo slide">
    <p:bg>
      <p:bgPr>
        <a:solidFill>
          <a:srgbClr val="E6E6E6"/>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sp>
        <p:nvSpPr>
          <p:cNvPr id="9" name="Text Box 3" descr="This is a copyright notice that should be included on the final slide.">
            <a:extLst>
              <a:ext uri="{FF2B5EF4-FFF2-40B4-BE49-F238E27FC236}">
                <a16:creationId xmlns:a16="http://schemas.microsoft.com/office/drawing/2014/main" id="{7AD92277-6098-4206-B386-69952695A2E1}"/>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rgbClr val="000000"/>
                </a:solidFill>
                <a:cs typeface="Segoe UI" pitchFamily="34" charset="0"/>
              </a:rPr>
              <a:t>© Copyright Microsoft Corporation. All rights reserved. </a:t>
            </a:r>
          </a:p>
        </p:txBody>
      </p:sp>
      <p:pic>
        <p:nvPicPr>
          <p:cNvPr id="10" name="Picture 9">
            <a:extLst>
              <a:ext uri="{FF2B5EF4-FFF2-40B4-BE49-F238E27FC236}">
                <a16:creationId xmlns:a16="http://schemas.microsoft.com/office/drawing/2014/main" id="{39CFB6CB-1976-4EE2-955F-8B81CCB05A6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7096" y="304800"/>
            <a:ext cx="2058616" cy="924737"/>
          </a:xfrm>
          <a:prstGeom prst="rect">
            <a:avLst/>
          </a:prstGeom>
        </p:spPr>
      </p:pic>
    </p:spTree>
    <p:extLst>
      <p:ext uri="{BB962C8B-B14F-4D97-AF65-F5344CB8AC3E}">
        <p14:creationId xmlns:p14="http://schemas.microsoft.com/office/powerpoint/2010/main" val="1128222083"/>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890882054"/>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38195070"/>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image" Target="../media/image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tags" Target="../tags/tag7.xml"/><Relationship Id="rId50" Type="http://schemas.openxmlformats.org/officeDocument/2006/relationships/image" Target="../media/image1.bin"/><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theme" Target="../theme/theme2.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tags" Target="../tags/tag9.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tags" Target="../tags/tag8.xml"/><Relationship Id="rId8" Type="http://schemas.openxmlformats.org/officeDocument/2006/relationships/slideLayout" Target="../slideLayouts/slideLayout52.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tags" Target="../tags/tag6.xml"/><Relationship Id="rId20" Type="http://schemas.openxmlformats.org/officeDocument/2006/relationships/slideLayout" Target="../slideLayouts/slideLayout64.xml"/><Relationship Id="rId41" Type="http://schemas.openxmlformats.org/officeDocument/2006/relationships/slideLayout" Target="../slideLayouts/slideLayout85.xml"/><Relationship Id="rId1" Type="http://schemas.openxmlformats.org/officeDocument/2006/relationships/slideLayout" Target="../slideLayouts/slideLayout45.xml"/><Relationship Id="rId6"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5276142"/>
      </p:ext>
    </p:extLst>
  </p:cSld>
  <p:clrMap bg1="lt1" tx1="dk1" bg2="lt2" tx2="dk2" accent1="accent1" accent2="accent2" accent3="accent3" accent4="accent4" accent5="accent5" accent6="accent6" hlink="hlink" folHlink="folHlink"/>
  <p:sldLayoutIdLst>
    <p:sldLayoutId id="2147483668" r:id="rId1"/>
    <p:sldLayoutId id="2147483663" r:id="rId2"/>
    <p:sldLayoutId id="2147483653" r:id="rId3"/>
    <p:sldLayoutId id="2147483684" r:id="rId4"/>
    <p:sldLayoutId id="2147483675" r:id="rId5"/>
    <p:sldLayoutId id="2147483669" r:id="rId6"/>
    <p:sldLayoutId id="2147483657" r:id="rId7"/>
    <p:sldLayoutId id="2147483692" r:id="rId8"/>
    <p:sldLayoutId id="2147483685" r:id="rId9"/>
    <p:sldLayoutId id="2147483680" r:id="rId10"/>
    <p:sldLayoutId id="2147483670" r:id="rId11"/>
    <p:sldLayoutId id="2147483658" r:id="rId12"/>
    <p:sldLayoutId id="2147483649" r:id="rId13"/>
    <p:sldLayoutId id="2147483686" r:id="rId14"/>
    <p:sldLayoutId id="2147483676" r:id="rId15"/>
    <p:sldLayoutId id="2147483664" r:id="rId16"/>
    <p:sldLayoutId id="2147483659" r:id="rId17"/>
    <p:sldLayoutId id="2147483650" r:id="rId18"/>
    <p:sldLayoutId id="2147483681" r:id="rId19"/>
    <p:sldLayoutId id="2147483665" r:id="rId20"/>
    <p:sldLayoutId id="2147483654" r:id="rId21"/>
    <p:sldLayoutId id="2147483687" r:id="rId22"/>
    <p:sldLayoutId id="2147483677" r:id="rId23"/>
    <p:sldLayoutId id="2147483671" r:id="rId24"/>
    <p:sldLayoutId id="2147483660" r:id="rId25"/>
    <p:sldLayoutId id="2147483651" r:id="rId26"/>
    <p:sldLayoutId id="2147483688" r:id="rId27"/>
    <p:sldLayoutId id="2147483678" r:id="rId28"/>
    <p:sldLayoutId id="2147483666" r:id="rId29"/>
    <p:sldLayoutId id="2147483689" r:id="rId30"/>
    <p:sldLayoutId id="2147483682" r:id="rId31"/>
    <p:sldLayoutId id="2147483672" r:id="rId32"/>
    <p:sldLayoutId id="2147483661" r:id="rId33"/>
    <p:sldLayoutId id="2147483655" r:id="rId34"/>
    <p:sldLayoutId id="2147483690" r:id="rId35"/>
    <p:sldLayoutId id="2147483679" r:id="rId36"/>
    <p:sldLayoutId id="2147483673" r:id="rId37"/>
    <p:sldLayoutId id="2147483662" r:id="rId38"/>
    <p:sldLayoutId id="2147483652" r:id="rId39"/>
    <p:sldLayoutId id="2147483674" r:id="rId40"/>
    <p:sldLayoutId id="2147483667" r:id="rId41"/>
    <p:sldLayoutId id="2147483656" r:id="rId42"/>
    <p:sldLayoutId id="2147483691" r:id="rId43"/>
    <p:sldLayoutId id="2147483683"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dirty="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0"/>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a:extLst>
              <a:ext uri="{FF2B5EF4-FFF2-40B4-BE49-F238E27FC236}">
                <a16:creationId xmlns:a16="http://schemas.microsoft.com/office/drawing/2014/main" id="{E97C987E-6476-40C2-BAC6-7FBEF25233F3}"/>
              </a:ext>
              <a:ext uri="{C183D7F6-B498-43B3-948B-1728B52AA6E4}">
                <adec:decorative xmlns:adec="http://schemas.microsoft.com/office/drawing/2017/decorative" val="1"/>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hidden="1">
            <a:extLst>
              <a:ext uri="{FF2B5EF4-FFF2-40B4-BE49-F238E27FC236}">
                <a16:creationId xmlns:a16="http://schemas.microsoft.com/office/drawing/2014/main" id="{D1AA79B0-C3B6-4DDF-97F7-FA69F72E18DA}"/>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95276142"/>
      </p:ext>
    </p:extLst>
  </p:cSld>
  <p:clrMap bg1="lt1" tx1="dk1" bg2="lt2" tx2="dk2" accent1="accent1" accent2="accent2" accent3="accent3" accent4="accent4" accent5="accent5" accent6="accent6" hlink="hlink" folHlink="folHlink"/>
  <p:sldLayoutIdLst>
    <p:sldLayoutId id="2147483736" r:id="rId1"/>
    <p:sldLayoutId id="2147483702" r:id="rId2"/>
    <p:sldLayoutId id="2147483728" r:id="rId3"/>
    <p:sldLayoutId id="2147483719" r:id="rId4"/>
    <p:sldLayoutId id="2147483710" r:id="rId5"/>
    <p:sldLayoutId id="2147483737" r:id="rId6"/>
    <p:sldLayoutId id="2147483701" r:id="rId7"/>
    <p:sldLayoutId id="2147483727" r:id="rId8"/>
    <p:sldLayoutId id="2147483720" r:id="rId9"/>
    <p:sldLayoutId id="2147483715" r:id="rId10"/>
    <p:sldLayoutId id="2147483705" r:id="rId11"/>
    <p:sldLayoutId id="2147483729" r:id="rId12"/>
    <p:sldLayoutId id="2147483694" r:id="rId13"/>
    <p:sldLayoutId id="2147483721" r:id="rId14"/>
    <p:sldLayoutId id="2147483711" r:id="rId15"/>
    <p:sldLayoutId id="2147483703" r:id="rId16"/>
    <p:sldLayoutId id="2147483730" r:id="rId17"/>
    <p:sldLayoutId id="2147483695" r:id="rId18"/>
    <p:sldLayoutId id="2147483716" r:id="rId19"/>
    <p:sldLayoutId id="2147483734" r:id="rId20"/>
    <p:sldLayoutId id="2147483698" r:id="rId21"/>
    <p:sldLayoutId id="2147483722" r:id="rId22"/>
    <p:sldLayoutId id="2147483712" r:id="rId23"/>
    <p:sldLayoutId id="2147483706" r:id="rId24"/>
    <p:sldLayoutId id="2147483731" r:id="rId25"/>
    <p:sldLayoutId id="2147483696" r:id="rId26"/>
    <p:sldLayoutId id="2147483723" r:id="rId27"/>
    <p:sldLayoutId id="2147483713" r:id="rId28"/>
    <p:sldLayoutId id="2147483704" r:id="rId29"/>
    <p:sldLayoutId id="2147483724" r:id="rId30"/>
    <p:sldLayoutId id="2147483717" r:id="rId31"/>
    <p:sldLayoutId id="2147483707" r:id="rId32"/>
    <p:sldLayoutId id="2147483732" r:id="rId33"/>
    <p:sldLayoutId id="2147483699" r:id="rId34"/>
    <p:sldLayoutId id="2147483725" r:id="rId35"/>
    <p:sldLayoutId id="2147483714" r:id="rId36"/>
    <p:sldLayoutId id="2147483708" r:id="rId37"/>
    <p:sldLayoutId id="2147483733" r:id="rId38"/>
    <p:sldLayoutId id="2147483697" r:id="rId39"/>
    <p:sldLayoutId id="2147483709" r:id="rId40"/>
    <p:sldLayoutId id="2147483735" r:id="rId41"/>
    <p:sldLayoutId id="2147483700" r:id="rId42"/>
    <p:sldLayoutId id="2147483726" r:id="rId43"/>
    <p:sldLayoutId id="2147483718" r:id="rId44"/>
  </p:sldLayoutIdLst>
  <p:hf sldNum="0" hdr="0" ftr="0" dt="0"/>
  <p:txStyles>
    <p:titleStyle>
      <a:lvl1pPr algn="l" defTabSz="932742" rtl="0" eaLnBrk="1" latinLnBrk="0" hangingPunct="1">
        <a:lnSpc>
          <a:spcPts val="3620"/>
        </a:lnSpc>
        <a:spcBef>
          <a:spcPct val="0"/>
        </a:spcBef>
        <a:buNone/>
        <a:defRPr lang="en-GB" sz="3200" b="0" kern="1200" cap="none" spc="-50" baseline="0" dirty="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10.xml.rels>&#65279;<?xml version="1.0" encoding="utf-8"?><Relationships xmlns="http://schemas.openxmlformats.org/package/2006/relationships"><Relationship Type="http://schemas.microsoft.com/office/2007/relationships/diagramDrawing" Target="../diagrams/drawing4.xml" Id="rId8" /><Relationship Type="http://schemas.openxmlformats.org/officeDocument/2006/relationships/notesSlide" Target="../notesSlides/notesSlide10.xml" Id="rId3" /><Relationship Type="http://schemas.openxmlformats.org/officeDocument/2006/relationships/diagramColors" Target="../diagrams/colors4.xml" Id="rId7" /><Relationship Type="http://schemas.openxmlformats.org/officeDocument/2006/relationships/slideLayout" Target="../slideLayouts/slideLayout52.xml" Id="rId2" /><Relationship Type="http://schemas.openxmlformats.org/officeDocument/2006/relationships/tags" Target="../tags/tag23.xml" Id="rId1" /><Relationship Type="http://schemas.openxmlformats.org/officeDocument/2006/relationships/diagramQuickStyle" Target="../diagrams/quickStyle4.xml" Id="rId6" /><Relationship Type="http://schemas.openxmlformats.org/officeDocument/2006/relationships/diagramLayout" Target="../diagrams/layout4.xml" Id="rId5" /><Relationship Type="http://schemas.openxmlformats.org/officeDocument/2006/relationships/diagramData" Target="../diagrams/data4.xml" Id="rId4" /></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slideLayout" Target="../slideLayouts/slideLayout55.xml"/><Relationship Id="rId1" Type="http://schemas.openxmlformats.org/officeDocument/2006/relationships/tags" Target="../tags/tag2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slideLayout" Target="../slideLayouts/slideLayout55.xml"/><Relationship Id="rId1" Type="http://schemas.openxmlformats.org/officeDocument/2006/relationships/tags" Target="../tags/tag2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3.xml.rels>&#65279;<?xml version="1.0" encoding="utf-8"?><Relationships xmlns="http://schemas.openxmlformats.org/package/2006/relationships"><Relationship Type="http://schemas.microsoft.com/office/2007/relationships/diagramDrawing" Target="../diagrams/drawing7.xml" Id="rId8" /><Relationship Type="http://schemas.microsoft.com/office/2007/relationships/diagramDrawing" Target="../diagrams/drawing8.xml" Id="rId13" /><Relationship Type="http://schemas.openxmlformats.org/officeDocument/2006/relationships/notesSlide" Target="../notesSlides/notesSlide11.xml" Id="rId3" /><Relationship Type="http://schemas.openxmlformats.org/officeDocument/2006/relationships/diagramColors" Target="../diagrams/colors7.xml" Id="rId7" /><Relationship Type="http://schemas.openxmlformats.org/officeDocument/2006/relationships/diagramColors" Target="../diagrams/colors8.xml" Id="rId12" /><Relationship Type="http://schemas.openxmlformats.org/officeDocument/2006/relationships/slideLayout" Target="../slideLayouts/slideLayout55.xml" Id="rId2" /><Relationship Type="http://schemas.openxmlformats.org/officeDocument/2006/relationships/tags" Target="../tags/tag26.xml" Id="rId1" /><Relationship Type="http://schemas.openxmlformats.org/officeDocument/2006/relationships/diagramQuickStyle" Target="../diagrams/quickStyle7.xml" Id="rId6" /><Relationship Type="http://schemas.openxmlformats.org/officeDocument/2006/relationships/diagramQuickStyle" Target="../diagrams/quickStyle8.xml" Id="rId11" /><Relationship Type="http://schemas.openxmlformats.org/officeDocument/2006/relationships/diagramLayout" Target="../diagrams/layout7.xml" Id="rId5" /><Relationship Type="http://schemas.openxmlformats.org/officeDocument/2006/relationships/diagramLayout" Target="../diagrams/layout8.xml" Id="rId10" /><Relationship Type="http://schemas.openxmlformats.org/officeDocument/2006/relationships/diagramData" Target="../diagrams/data7.xml" Id="rId4" /><Relationship Type="http://schemas.openxmlformats.org/officeDocument/2006/relationships/diagramData" Target="../diagrams/data8.xml" Id="rId9" /></Relationships>
</file>

<file path=ppt/slides/_rels/slide14.xml.rels><?xml version="1.0" encoding="UTF-8" standalone="yes"?>
<Relationships xmlns="http://schemas.openxmlformats.org/package/2006/relationships"><Relationship Id="rId8" Type="http://schemas.microsoft.com/office/2007/relationships/diagramDrawing" Target="../diagrams/drawing9.xml"/><Relationship Id="rId13" Type="http://schemas.microsoft.com/office/2007/relationships/diagramDrawing" Target="../diagrams/drawing10.xml"/><Relationship Id="rId3" Type="http://schemas.openxmlformats.org/officeDocument/2006/relationships/notesSlide" Target="../notesSlides/notesSlide12.xml"/><Relationship Id="rId7" Type="http://schemas.openxmlformats.org/officeDocument/2006/relationships/diagramColors" Target="../diagrams/colors9.xml"/><Relationship Id="rId12" Type="http://schemas.openxmlformats.org/officeDocument/2006/relationships/diagramColors" Target="../diagrams/colors10.xml"/><Relationship Id="rId2" Type="http://schemas.openxmlformats.org/officeDocument/2006/relationships/slideLayout" Target="../slideLayouts/slideLayout55.xml"/><Relationship Id="rId1" Type="http://schemas.openxmlformats.org/officeDocument/2006/relationships/tags" Target="../tags/tag27.xml"/><Relationship Id="rId6" Type="http://schemas.openxmlformats.org/officeDocument/2006/relationships/diagramQuickStyle" Target="../diagrams/quickStyle9.xml"/><Relationship Id="rId11" Type="http://schemas.openxmlformats.org/officeDocument/2006/relationships/diagramQuickStyle" Target="../diagrams/quickStyle10.xml"/><Relationship Id="rId5" Type="http://schemas.openxmlformats.org/officeDocument/2006/relationships/diagramLayout" Target="../diagrams/layout9.xml"/><Relationship Id="rId10" Type="http://schemas.openxmlformats.org/officeDocument/2006/relationships/diagramLayout" Target="../diagrams/layout10.xml"/><Relationship Id="rId4" Type="http://schemas.openxmlformats.org/officeDocument/2006/relationships/diagramData" Target="../diagrams/data9.xml"/><Relationship Id="rId9" Type="http://schemas.openxmlformats.org/officeDocument/2006/relationships/diagramData" Target="../diagrams/data10.xml"/></Relationships>
</file>

<file path=ppt/slides/_rels/slide15.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notesSlide" Target="../notesSlides/notesSlide13.xml"/><Relationship Id="rId7" Type="http://schemas.openxmlformats.org/officeDocument/2006/relationships/diagramColors" Target="../diagrams/colors11.xml"/><Relationship Id="rId2" Type="http://schemas.openxmlformats.org/officeDocument/2006/relationships/slideLayout" Target="../slideLayouts/slideLayout55.xml"/><Relationship Id="rId1" Type="http://schemas.openxmlformats.org/officeDocument/2006/relationships/tags" Target="../tags/tag28.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16.xml.rels><?xml version="1.0" encoding="UTF-8" standalone="yes"?>
<Relationships xmlns="http://schemas.openxmlformats.org/package/2006/relationships"><Relationship Id="rId8" Type="http://schemas.openxmlformats.org/officeDocument/2006/relationships/diagramQuickStyle" Target="../diagrams/quickStyle12.xml"/><Relationship Id="rId3" Type="http://schemas.openxmlformats.org/officeDocument/2006/relationships/tags" Target="../tags/tag31.xml"/><Relationship Id="rId7" Type="http://schemas.openxmlformats.org/officeDocument/2006/relationships/diagramLayout" Target="../diagrams/layout1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diagramData" Target="../diagrams/data12.xml"/><Relationship Id="rId5" Type="http://schemas.openxmlformats.org/officeDocument/2006/relationships/notesSlide" Target="../notesSlides/notesSlide14.xml"/><Relationship Id="rId10" Type="http://schemas.microsoft.com/office/2007/relationships/diagramDrawing" Target="../diagrams/drawing12.xml"/><Relationship Id="rId4" Type="http://schemas.openxmlformats.org/officeDocument/2006/relationships/slideLayout" Target="../slideLayouts/slideLayout55.xml"/><Relationship Id="rId9" Type="http://schemas.openxmlformats.org/officeDocument/2006/relationships/diagramColors" Target="../diagrams/colors1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33.xml"/><Relationship Id="rId1" Type="http://schemas.openxmlformats.org/officeDocument/2006/relationships/tags" Target="../tags/tag3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3.bin"/><Relationship Id="rId4"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3.xml"/><Relationship Id="rId1" Type="http://schemas.openxmlformats.org/officeDocument/2006/relationships/tags" Target="../tags/tag3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11.xml"/></Relationships>
</file>

<file path=ppt/slides/_rels/slide3.xml.rels>&#65279;<?xml version="1.0" encoding="utf-8"?><Relationships xmlns="http://schemas.openxmlformats.org/package/2006/relationships"><Relationship Type="http://schemas.openxmlformats.org/officeDocument/2006/relationships/image" Target="../media/image4.bin" Id="rId8" /><Relationship Type="http://schemas.openxmlformats.org/officeDocument/2006/relationships/customXml" Target="../../customXml/item7.xml" Id="rId3" /><Relationship Type="http://schemas.openxmlformats.org/officeDocument/2006/relationships/notesSlide" Target="../notesSlides/notesSlide3.xml" Id="rId7" /><Relationship Type="http://schemas.openxmlformats.org/officeDocument/2006/relationships/customXml" Target="../../customXml/item6.xml" Id="rId2" /><Relationship Type="http://schemas.openxmlformats.org/officeDocument/2006/relationships/tags" Target="../tags/tag12.xml" Id="rId1" /><Relationship Type="http://schemas.openxmlformats.org/officeDocument/2006/relationships/slideLayout" Target="../slideLayouts/slideLayout9.xml" Id="rId6" /><Relationship Type="http://schemas.openxmlformats.org/officeDocument/2006/relationships/tags" Target="../tags/tag14.xml" Id="rId5" /><Relationship Type="http://schemas.openxmlformats.org/officeDocument/2006/relationships/tags" Target="../tags/tag13.xml" Id="rId4" /></Relationships>
</file>

<file path=ppt/slides/_rels/slide4.xml.rels>&#65279;<?xml version="1.0" encoding="utf-8"?><Relationships xmlns="http://schemas.openxmlformats.org/package/2006/relationships"><Relationship Type="http://schemas.microsoft.com/office/2007/relationships/diagramDrawing" Target="../diagrams/drawing1.xml" Id="rId8" /><Relationship Type="http://schemas.openxmlformats.org/officeDocument/2006/relationships/notesSlide" Target="../notesSlides/notesSlide4.xml" Id="rId3" /><Relationship Type="http://schemas.openxmlformats.org/officeDocument/2006/relationships/diagramColors" Target="../diagrams/colors1.xml" Id="rId7" /><Relationship Type="http://schemas.openxmlformats.org/officeDocument/2006/relationships/slideLayout" Target="../slideLayouts/slideLayout59.xml" Id="rId2" /><Relationship Type="http://schemas.openxmlformats.org/officeDocument/2006/relationships/tags" Target="../tags/tag15.xml" Id="rId1" /><Relationship Type="http://schemas.openxmlformats.org/officeDocument/2006/relationships/diagramQuickStyle" Target="../diagrams/quickStyle1.xml" Id="rId6" /><Relationship Type="http://schemas.openxmlformats.org/officeDocument/2006/relationships/diagramLayout" Target="../diagrams/layout1.xml" Id="rId5" /><Relationship Type="http://schemas.openxmlformats.org/officeDocument/2006/relationships/diagramData" Target="../diagrams/data1.xml" Id="rId4" /></Relationships>
</file>

<file path=ppt/slides/_rels/slide5.xml.rels>&#65279;<?xml version="1.0" encoding="utf-8"?><Relationships xmlns="http://schemas.openxmlformats.org/package/2006/relationships"><Relationship Type="http://schemas.openxmlformats.org/officeDocument/2006/relationships/notesSlide" Target="../notesSlides/notesSlide5.xml" Id="rId3" /><Relationship Type="http://schemas.openxmlformats.org/officeDocument/2006/relationships/slideLayout" Target="../slideLayouts/slideLayout15.xml" Id="rId2" /><Relationship Type="http://schemas.openxmlformats.org/officeDocument/2006/relationships/tags" Target="../tags/tag16.xml" Id="rId1" /></Relationships>
</file>

<file path=ppt/slides/_rels/slide6.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6.xml"/><Relationship Id="rId7" Type="http://schemas.openxmlformats.org/officeDocument/2006/relationships/diagramColors" Target="../diagrams/colors2.xml"/><Relationship Id="rId2" Type="http://schemas.openxmlformats.org/officeDocument/2006/relationships/slideLayout" Target="../slideLayouts/slideLayout53.xml"/><Relationship Id="rId1" Type="http://schemas.openxmlformats.org/officeDocument/2006/relationships/tags" Target="../tags/tag17.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7.xml.rels>&#65279;<?xml version="1.0" encoding="utf-8"?><Relationships xmlns="http://schemas.openxmlformats.org/package/2006/relationships"><Relationship Type="http://schemas.openxmlformats.org/officeDocument/2006/relationships/slideLayout" Target="../slideLayouts/slideLayout8.xml" Id="rId3" /><Relationship Type="http://schemas.openxmlformats.org/officeDocument/2006/relationships/tags" Target="../tags/tag19.xml" Id="rId2" /><Relationship Type="http://schemas.openxmlformats.org/officeDocument/2006/relationships/tags" Target="../tags/tag18.xml" Id="rId1" /><Relationship Type="http://schemas.openxmlformats.org/officeDocument/2006/relationships/image" Target="../media/image13.bin" Id="rId5" /><Relationship Type="http://schemas.openxmlformats.org/officeDocument/2006/relationships/notesSlide" Target="../notesSlides/notesSlide7.xml" Id="rId4" /></Relationships>
</file>

<file path=ppt/slides/_rels/slide8.xml.rels>&#65279;<?xml version="1.0" encoding="utf-8"?><Relationships xmlns="http://schemas.openxmlformats.org/package/2006/relationships"><Relationship Type="http://schemas.microsoft.com/office/2007/relationships/diagramDrawing" Target="../diagrams/drawing3.xml" Id="rId8" /><Relationship Type="http://schemas.openxmlformats.org/officeDocument/2006/relationships/notesSlide" Target="../notesSlides/notesSlide8.xml" Id="rId3" /><Relationship Type="http://schemas.openxmlformats.org/officeDocument/2006/relationships/diagramColors" Target="../diagrams/colors3.xml" Id="rId7" /><Relationship Type="http://schemas.openxmlformats.org/officeDocument/2006/relationships/slideLayout" Target="../slideLayouts/slideLayout9.xml" Id="rId2" /><Relationship Type="http://schemas.openxmlformats.org/officeDocument/2006/relationships/tags" Target="../tags/tag20.xml" Id="rId1" /><Relationship Type="http://schemas.openxmlformats.org/officeDocument/2006/relationships/diagramQuickStyle" Target="../diagrams/quickStyle3.xml" Id="rId6" /><Relationship Type="http://schemas.openxmlformats.org/officeDocument/2006/relationships/diagramLayout" Target="../diagrams/layout3.xml" Id="rId5" /><Relationship Type="http://schemas.openxmlformats.org/officeDocument/2006/relationships/diagramData" Target="../diagrams/data3.xml" Id="rId4" /></Relationships>
</file>

<file path=ppt/slides/_rels/slide9.xml.rels>&#65279;<?xml version="1.0" encoding="utf-8"?><Relationships xmlns="http://schemas.openxmlformats.org/package/2006/relationships"><Relationship Type="http://schemas.openxmlformats.org/officeDocument/2006/relationships/slideLayout" Target="../slideLayouts/slideLayout52.xml" Id="rId3" /><Relationship Type="http://schemas.openxmlformats.org/officeDocument/2006/relationships/tags" Target="../tags/tag22.xml" Id="rId2" /><Relationship Type="http://schemas.openxmlformats.org/officeDocument/2006/relationships/tags" Target="../tags/tag21.xml" Id="rId1" /><Relationship Type="http://schemas.openxmlformats.org/officeDocument/2006/relationships/image" Target="../media/image22.bin" Id="rId5" /><Relationship Type="http://schemas.openxmlformats.org/officeDocument/2006/relationships/notesSlide" Target="../notesSlides/notesSlide9.xml" Id="rId4" /></Relationships>
</file>

<file path=ppt/slides/slide1.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rmAutofit/>
          </a:bodyPr>
          <a:lstStyle/>
          <a:p>
            <a:r>
              <a:rPr lang="en-US"/>
              <a:t>Knowledge Refresh</a:t>
            </a:r>
          </a:p>
        </p:txBody>
      </p:sp>
      <p:sp>
        <p:nvSpPr>
          <p:cNvPr id="7" name="Subtitle 6">
            <a:extLst>
              <a:ext uri="{FF2B5EF4-FFF2-40B4-BE49-F238E27FC236}">
                <a16:creationId xmlns:a16="http://schemas.microsoft.com/office/drawing/2014/main" id="{15AD7CB0-A737-4032-A3F3-4652E7E1FB2B}"/>
              </a:ext>
            </a:extLst>
          </p:cNvPr>
          <p:cNvSpPr>
            <a:spLocks noGrp="1"/>
          </p:cNvSpPr>
          <p:nvPr>
            <p:ph type="subTitle" idx="1"/>
          </p:nvPr>
        </p:nvSpPr>
        <p:spPr/>
        <p:txBody>
          <a:bodyPr>
            <a:normAutofit lnSpcReduction="10000"/>
          </a:bodyPr>
          <a:lstStyle/>
          <a:p>
            <a:r>
              <a:rPr lang="en-US" dirty="0"/>
              <a:t>Module 1</a:t>
            </a:r>
          </a:p>
        </p:txBody>
      </p:sp>
    </p:spTree>
    <p:custDataLst>
      <p:tags r:id="rId1"/>
    </p:custDataLst>
    <p:extLst>
      <p:ext uri="{BB962C8B-B14F-4D97-AF65-F5344CB8AC3E}">
        <p14:creationId xmlns:p14="http://schemas.microsoft.com/office/powerpoint/2010/main" val="1325058836"/>
      </p:ext>
    </p:extLst>
  </p:cSld>
  <p:clrMapOvr>
    <a:masterClrMapping/>
  </p:clrMapOvr>
  <p:transition spd="slow"/>
</p:sld>
</file>

<file path=ppt/slides/slide10.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Objects</a:t>
            </a:r>
          </a:p>
        </p:txBody>
      </p:sp>
      <p:graphicFrame>
        <p:nvGraphicFramePr>
          <p:cNvPr id="10" name="Text Placeholder 3">
            <a:extLst>
              <a:ext uri="{FF2B5EF4-FFF2-40B4-BE49-F238E27FC236}">
                <a16:creationId xmlns:a16="http://schemas.microsoft.com/office/drawing/2014/main" id="{D066ECC7-7C36-43D8-B06F-901AD8B1F6E3}"/>
              </a:ext>
            </a:extLst>
          </p:cNvPr>
          <p:cNvGraphicFramePr/>
          <p:nvPr>
            <p:extLst>
              <p:ext uri="{D42A27DB-BD31-4B8C-83A1-F6EECF244321}">
                <p14:modId xmlns:p14="http://schemas.microsoft.com/office/powerpoint/2010/main" val="1165519940"/>
              </p:ext>
            </p:extLst>
          </p:nvPr>
        </p:nvGraphicFramePr>
        <p:xfrm>
          <a:off x="148425" y="675861"/>
          <a:ext cx="11895150" cy="389812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tangle 10">
            <a:extLst>
              <a:ext uri="{FF2B5EF4-FFF2-40B4-BE49-F238E27FC236}">
                <a16:creationId xmlns:a16="http://schemas.microsoft.com/office/drawing/2014/main" id="{33EF0800-E875-4793-87E0-6302077DB660}"/>
              </a:ext>
            </a:extLst>
          </p:cNvPr>
          <p:cNvSpPr/>
          <p:nvPr/>
        </p:nvSpPr>
        <p:spPr>
          <a:xfrm>
            <a:off x="835823" y="4965392"/>
            <a:ext cx="6934200" cy="400110"/>
          </a:xfrm>
          <a:prstGeom prst="rect">
            <a:avLst/>
          </a:prstGeom>
        </p:spPr>
        <p:txBody>
          <a:bodyPr wrap="square">
            <a:spAutoFit/>
          </a:bodyPr>
          <a:lstStyle/>
          <a:p>
            <a:r>
              <a:rPr lang="en-US" sz="2000" dirty="0">
                <a:solidFill>
                  <a:srgbClr val="A82D00"/>
                </a:solidFill>
                <a:latin typeface="Lucida Console" panose="020B0609040504020204" pitchFamily="49" charset="0"/>
              </a:rPr>
              <a:t>$Service</a:t>
            </a:r>
            <a:r>
              <a:rPr lang="en-US" sz="2000" dirty="0">
                <a:solidFill>
                  <a:prstClr val="black"/>
                </a:solidFill>
                <a:latin typeface="Lucida Console" panose="020B0609040504020204" pitchFamily="49" charset="0"/>
              </a:rPr>
              <a:t> </a:t>
            </a:r>
            <a:r>
              <a:rPr lang="en-US" sz="2000" dirty="0">
                <a:solidFill>
                  <a:srgbClr val="696969"/>
                </a:solidFill>
                <a:latin typeface="Lucida Console" panose="020B0609040504020204" pitchFamily="49" charset="0"/>
              </a:rPr>
              <a:t>=</a:t>
            </a:r>
            <a:r>
              <a:rPr lang="en-US" sz="2000" dirty="0">
                <a:solidFill>
                  <a:prstClr val="black"/>
                </a:solidFill>
                <a:latin typeface="Lucida Console" panose="020B0609040504020204" pitchFamily="49" charset="0"/>
              </a:rPr>
              <a:t> </a:t>
            </a:r>
            <a:r>
              <a:rPr lang="en-US" sz="2000" dirty="0">
                <a:solidFill>
                  <a:srgbClr val="0000FF"/>
                </a:solidFill>
                <a:latin typeface="Lucida Console" panose="020B0609040504020204" pitchFamily="49" charset="0"/>
              </a:rPr>
              <a:t>Get-Service</a:t>
            </a:r>
            <a:r>
              <a:rPr lang="en-US" sz="2000" dirty="0">
                <a:solidFill>
                  <a:prstClr val="black"/>
                </a:solidFill>
                <a:latin typeface="Lucida Console" panose="020B0609040504020204" pitchFamily="49" charset="0"/>
              </a:rPr>
              <a:t> </a:t>
            </a:r>
            <a:r>
              <a:rPr lang="en-US" sz="2000" dirty="0">
                <a:solidFill>
                  <a:srgbClr val="8A2BE2"/>
                </a:solidFill>
                <a:latin typeface="Lucida Console" panose="020B0609040504020204" pitchFamily="49" charset="0"/>
              </a:rPr>
              <a:t>ALG</a:t>
            </a:r>
            <a:endParaRPr lang="en-US" sz="2000" dirty="0">
              <a:solidFill>
                <a:prstClr val="black"/>
              </a:solidFill>
              <a:latin typeface="Lucida Console" panose="020B0609040504020204" pitchFamily="49" charset="0"/>
            </a:endParaRPr>
          </a:p>
        </p:txBody>
      </p:sp>
      <p:sp>
        <p:nvSpPr>
          <p:cNvPr id="12" name="Rectangle 11">
            <a:extLst>
              <a:ext uri="{FF2B5EF4-FFF2-40B4-BE49-F238E27FC236}">
                <a16:creationId xmlns:a16="http://schemas.microsoft.com/office/drawing/2014/main" id="{4E9BCA0F-D395-46D3-AC37-70DF322B651C}"/>
              </a:ext>
            </a:extLst>
          </p:cNvPr>
          <p:cNvSpPr/>
          <p:nvPr/>
        </p:nvSpPr>
        <p:spPr>
          <a:xfrm>
            <a:off x="835823" y="5488613"/>
            <a:ext cx="6934200" cy="969496"/>
          </a:xfrm>
          <a:prstGeom prst="rect">
            <a:avLst/>
          </a:prstGeom>
          <a:solidFill>
            <a:srgbClr val="012456"/>
          </a:solidFill>
        </p:spPr>
        <p:txBody>
          <a:bodyPr wrap="square">
            <a:spAutoFit/>
          </a:bodyPr>
          <a:lstStyle/>
          <a:p>
            <a:r>
              <a:rPr lang="en-US" sz="1900" dirty="0">
                <a:solidFill>
                  <a:schemeClr val="bg1"/>
                </a:solidFill>
                <a:latin typeface="Lucida Console" panose="020B0609040504020204" pitchFamily="49" charset="0"/>
              </a:rPr>
              <a:t>PS&gt;</a:t>
            </a:r>
            <a:r>
              <a:rPr lang="en-US" sz="1900" dirty="0">
                <a:solidFill>
                  <a:srgbClr val="FF4500"/>
                </a:solidFill>
                <a:latin typeface="Lucida Console" panose="020B0609040504020204" pitchFamily="49" charset="0"/>
              </a:rPr>
              <a:t> $</a:t>
            </a:r>
            <a:r>
              <a:rPr lang="en-US" sz="1900" dirty="0" err="1">
                <a:solidFill>
                  <a:srgbClr val="FF4500"/>
                </a:solidFill>
                <a:latin typeface="Lucida Console" panose="020B0609040504020204" pitchFamily="49" charset="0"/>
              </a:rPr>
              <a:t>Service</a:t>
            </a:r>
            <a:r>
              <a:rPr lang="en-US" sz="1900" dirty="0" err="1">
                <a:solidFill>
                  <a:srgbClr val="D3D3D3"/>
                </a:solidFill>
                <a:latin typeface="Lucida Console" panose="020B0609040504020204" pitchFamily="49" charset="0"/>
              </a:rPr>
              <a:t>.</a:t>
            </a:r>
            <a:r>
              <a:rPr lang="en-US" sz="1900" dirty="0" err="1">
                <a:solidFill>
                  <a:srgbClr val="F5F5F5"/>
                </a:solidFill>
                <a:latin typeface="Lucida Console" panose="020B0609040504020204" pitchFamily="49" charset="0"/>
              </a:rPr>
              <a:t>DisplayName</a:t>
            </a:r>
            <a:endParaRPr lang="en-US" sz="1900" dirty="0">
              <a:solidFill>
                <a:srgbClr val="F5F5F5"/>
              </a:solidFill>
              <a:latin typeface="Lucida Console" panose="020B0609040504020204" pitchFamily="49" charset="0"/>
            </a:endParaRPr>
          </a:p>
          <a:p>
            <a:r>
              <a:rPr lang="en-US" sz="1900" dirty="0">
                <a:latin typeface="Lucida Console" panose="020B0609040504020204" pitchFamily="49" charset="0"/>
              </a:rPr>
              <a:t> </a:t>
            </a:r>
            <a:r>
              <a:rPr lang="en-US" sz="1900" dirty="0">
                <a:solidFill>
                  <a:srgbClr val="F5F5F5"/>
                </a:solidFill>
                <a:latin typeface="Lucida Console" panose="020B0609040504020204" pitchFamily="49" charset="0"/>
              </a:rPr>
              <a:t>Application Layer Gateway Service </a:t>
            </a:r>
          </a:p>
          <a:p>
            <a:r>
              <a:rPr lang="en-US" sz="1900" dirty="0">
                <a:solidFill>
                  <a:schemeClr val="bg1"/>
                </a:solidFill>
                <a:latin typeface="Lucida Console" panose="020B0609040504020204" pitchFamily="49" charset="0"/>
              </a:rPr>
              <a:t>PS&gt;</a:t>
            </a:r>
            <a:r>
              <a:rPr lang="en-US" sz="1900" dirty="0">
                <a:solidFill>
                  <a:srgbClr val="FF4500"/>
                </a:solidFill>
                <a:latin typeface="Lucida Console" panose="020B0609040504020204" pitchFamily="49" charset="0"/>
              </a:rPr>
              <a:t> $</a:t>
            </a:r>
            <a:r>
              <a:rPr lang="en-US" sz="1900" dirty="0" err="1">
                <a:solidFill>
                  <a:srgbClr val="FF4500"/>
                </a:solidFill>
                <a:latin typeface="Lucida Console" panose="020B0609040504020204" pitchFamily="49" charset="0"/>
              </a:rPr>
              <a:t>Service</a:t>
            </a:r>
            <a:r>
              <a:rPr lang="en-US" sz="1900" dirty="0" err="1">
                <a:solidFill>
                  <a:srgbClr val="D3D3D3"/>
                </a:solidFill>
                <a:latin typeface="Lucida Console" panose="020B0609040504020204" pitchFamily="49" charset="0"/>
              </a:rPr>
              <a:t>.</a:t>
            </a:r>
            <a:r>
              <a:rPr lang="en-US" sz="1900" dirty="0" err="1">
                <a:solidFill>
                  <a:srgbClr val="F5F5F5"/>
                </a:solidFill>
                <a:latin typeface="Lucida Console" panose="020B0609040504020204" pitchFamily="49" charset="0"/>
              </a:rPr>
              <a:t>Stop</a:t>
            </a:r>
            <a:r>
              <a:rPr lang="en-US" sz="1900" dirty="0">
                <a:solidFill>
                  <a:srgbClr val="F5F5F5"/>
                </a:solidFill>
                <a:latin typeface="Lucida Console" panose="020B0609040504020204" pitchFamily="49" charset="0"/>
              </a:rPr>
              <a:t>() </a:t>
            </a:r>
          </a:p>
        </p:txBody>
      </p:sp>
      <p:sp>
        <p:nvSpPr>
          <p:cNvPr id="13" name="Speech Bubble: Rectangle 12">
            <a:extLst>
              <a:ext uri="{FF2B5EF4-FFF2-40B4-BE49-F238E27FC236}">
                <a16:creationId xmlns:a16="http://schemas.microsoft.com/office/drawing/2014/main" id="{819C7C0F-B70E-47DE-B5CF-7F795259EAE5}"/>
              </a:ext>
            </a:extLst>
          </p:cNvPr>
          <p:cNvSpPr/>
          <p:nvPr/>
        </p:nvSpPr>
        <p:spPr>
          <a:xfrm>
            <a:off x="8836825" y="3148013"/>
            <a:ext cx="2650325" cy="838882"/>
          </a:xfrm>
          <a:prstGeom prst="wedgeRectCallout">
            <a:avLst>
              <a:gd name="adj1" fmla="val -201317"/>
              <a:gd name="adj2" fmla="val 244668"/>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dirty="0"/>
              <a:t>Dot-Notation to access member</a:t>
            </a:r>
          </a:p>
        </p:txBody>
      </p:sp>
      <p:sp>
        <p:nvSpPr>
          <p:cNvPr id="14" name="Speech Bubble: Rectangle 13">
            <a:extLst>
              <a:ext uri="{FF2B5EF4-FFF2-40B4-BE49-F238E27FC236}">
                <a16:creationId xmlns:a16="http://schemas.microsoft.com/office/drawing/2014/main" id="{C8F38BDC-197A-45ED-99E5-CC70903D2A42}"/>
              </a:ext>
            </a:extLst>
          </p:cNvPr>
          <p:cNvSpPr/>
          <p:nvPr/>
        </p:nvSpPr>
        <p:spPr>
          <a:xfrm>
            <a:off x="8505035" y="5257800"/>
            <a:ext cx="3458365" cy="1217099"/>
          </a:xfrm>
          <a:prstGeom prst="wedgeRectCallout">
            <a:avLst>
              <a:gd name="adj1" fmla="val -180739"/>
              <a:gd name="adj2" fmla="val 32902"/>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45720" rIns="45720" rtlCol="0" anchor="ctr"/>
          <a:lstStyle/>
          <a:p>
            <a:pPr algn="ctr"/>
            <a:r>
              <a:rPr lang="en-US" sz="2400" dirty="0"/>
              <a:t>Methods use </a:t>
            </a:r>
            <a:r>
              <a:rPr lang="en-US" sz="2400" b="1" dirty="0"/>
              <a:t>parenthesis</a:t>
            </a:r>
            <a:r>
              <a:rPr lang="en-US" sz="2400" dirty="0"/>
              <a:t>, which sometimes accept </a:t>
            </a:r>
            <a:r>
              <a:rPr lang="en-US" sz="2400" b="1" dirty="0"/>
              <a:t>input</a:t>
            </a:r>
          </a:p>
        </p:txBody>
      </p:sp>
    </p:spTree>
    <p:custDataLst>
      <p:tags r:id="rId1"/>
    </p:custDataLst>
    <p:extLst>
      <p:ext uri="{BB962C8B-B14F-4D97-AF65-F5344CB8AC3E}">
        <p14:creationId xmlns:p14="http://schemas.microsoft.com/office/powerpoint/2010/main" val="290929764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11.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DD2FF-31D2-43D0-AB65-17D79E373EC4}"/>
              </a:ext>
            </a:extLst>
          </p:cNvPr>
          <p:cNvSpPr>
            <a:spLocks noGrp="1"/>
          </p:cNvSpPr>
          <p:nvPr>
            <p:ph type="title"/>
          </p:nvPr>
        </p:nvSpPr>
        <p:spPr>
          <a:xfrm>
            <a:off x="655638" y="320040"/>
            <a:ext cx="11221730" cy="510871"/>
          </a:xfrm>
        </p:spPr>
        <p:txBody>
          <a:bodyPr/>
          <a:lstStyle/>
          <a:p>
            <a:r>
              <a:rPr lang="en-US" dirty="0"/>
              <a:t>Datatype Usage</a:t>
            </a:r>
            <a:br>
              <a:rPr lang="en-US" dirty="0"/>
            </a:br>
            <a:endParaRPr lang="en-US" dirty="0"/>
          </a:p>
        </p:txBody>
      </p:sp>
      <p:graphicFrame>
        <p:nvGraphicFramePr>
          <p:cNvPr id="3" name="Content Placeholder 2">
            <a:extLst>
              <a:ext uri="{FF2B5EF4-FFF2-40B4-BE49-F238E27FC236}">
                <a16:creationId xmlns:a16="http://schemas.microsoft.com/office/drawing/2014/main" id="{B45E996E-26BC-41F3-B4CB-A40DDDF8B867}"/>
              </a:ext>
            </a:extLst>
          </p:cNvPr>
          <p:cNvGraphicFramePr>
            <a:graphicFrameLocks noGrp="1"/>
          </p:cNvGraphicFramePr>
          <p:nvPr>
            <p:ph sz="quarter" idx="13"/>
            <p:extLst>
              <p:ext uri="{D42A27DB-BD31-4B8C-83A1-F6EECF244321}">
                <p14:modId xmlns:p14="http://schemas.microsoft.com/office/powerpoint/2010/main" val="2681267563"/>
              </p:ext>
            </p:extLst>
          </p:nvPr>
        </p:nvGraphicFramePr>
        <p:xfrm>
          <a:off x="655635" y="830911"/>
          <a:ext cx="5792789" cy="5935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 name="Rectangle 21">
            <a:extLst>
              <a:ext uri="{FF2B5EF4-FFF2-40B4-BE49-F238E27FC236}">
                <a16:creationId xmlns:a16="http://schemas.microsoft.com/office/drawing/2014/main" id="{79600A9E-8860-49E6-A2A3-5FBFCCB1C1AD}"/>
              </a:ext>
            </a:extLst>
          </p:cNvPr>
          <p:cNvSpPr/>
          <p:nvPr/>
        </p:nvSpPr>
        <p:spPr>
          <a:xfrm>
            <a:off x="7053261" y="4118776"/>
            <a:ext cx="5014913" cy="2647785"/>
          </a:xfrm>
          <a:prstGeom prst="rect">
            <a:avLst/>
          </a:prstGeom>
          <a:solidFill>
            <a:srgbClr val="012456"/>
          </a:solidFill>
          <a:ln w="12700">
            <a:solidFill>
              <a:schemeClr val="bg1"/>
            </a:solidFill>
          </a:ln>
        </p:spPr>
        <p:txBody>
          <a:bodyPr wrap="square">
            <a:noAutofit/>
          </a:bodyPr>
          <a:lstStyle/>
          <a:p>
            <a:r>
              <a:rPr lang="en-US" sz="1800" dirty="0">
                <a:solidFill>
                  <a:srgbClr val="F2F2F2"/>
                </a:solidFill>
                <a:latin typeface="Lucida Console" panose="020B0609040504020204" pitchFamily="49" charset="0"/>
              </a:rPr>
              <a:t>PS&gt; </a:t>
            </a:r>
            <a:r>
              <a:rPr lang="en-US" sz="1800" dirty="0">
                <a:solidFill>
                  <a:srgbClr val="FF4500"/>
                </a:solidFill>
                <a:latin typeface="Lucida Console" panose="020B0609040504020204" pitchFamily="49" charset="0"/>
              </a:rPr>
              <a:t>$var1</a:t>
            </a:r>
            <a:r>
              <a:rPr lang="en-US" sz="1800" dirty="0">
                <a:solidFill>
                  <a:prstClr val="black"/>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srgbClr val="8FBC8F"/>
                </a:solidFill>
                <a:latin typeface="Lucida Console" panose="020B0609040504020204" pitchFamily="49" charset="0"/>
              </a:rPr>
              <a:t>int</a:t>
            </a:r>
            <a:r>
              <a:rPr lang="en-US" sz="1800" dirty="0">
                <a:solidFill>
                  <a:srgbClr val="D3D3D3"/>
                </a:solidFill>
                <a:latin typeface="Lucida Console" panose="020B0609040504020204" pitchFamily="49" charset="0"/>
              </a:rPr>
              <a:t>]</a:t>
            </a:r>
            <a:r>
              <a:rPr lang="en-US" sz="1800" dirty="0">
                <a:solidFill>
                  <a:srgbClr val="FFE4B5"/>
                </a:solidFill>
                <a:latin typeface="Lucida Console" panose="020B0609040504020204" pitchFamily="49" charset="0"/>
              </a:rPr>
              <a:t>1.3</a:t>
            </a:r>
          </a:p>
          <a:p>
            <a:r>
              <a:rPr lang="en-US" sz="1800" dirty="0">
                <a:solidFill>
                  <a:srgbClr val="F2F2F2"/>
                </a:solidFill>
                <a:latin typeface="Lucida Console" panose="020B0609040504020204" pitchFamily="49" charset="0"/>
              </a:rPr>
              <a:t>PS&gt; </a:t>
            </a:r>
            <a:r>
              <a:rPr lang="en-US" sz="1800" dirty="0">
                <a:solidFill>
                  <a:srgbClr val="D3D3D3"/>
                </a:solidFill>
                <a:latin typeface="Lucida Console" panose="020B0609040504020204" pitchFamily="49" charset="0"/>
              </a:rPr>
              <a:t>[</a:t>
            </a:r>
            <a:r>
              <a:rPr lang="en-US" sz="1800" dirty="0">
                <a:solidFill>
                  <a:srgbClr val="8FBC8F"/>
                </a:solidFill>
                <a:latin typeface="Lucida Console" panose="020B0609040504020204" pitchFamily="49" charset="0"/>
              </a:rPr>
              <a:t>int</a:t>
            </a:r>
            <a:r>
              <a:rPr lang="en-US" sz="1800" dirty="0">
                <a:solidFill>
                  <a:srgbClr val="D3D3D3"/>
                </a:solidFill>
                <a:latin typeface="Lucida Console" panose="020B0609040504020204" pitchFamily="49" charset="0"/>
              </a:rPr>
              <a:t>]</a:t>
            </a:r>
            <a:r>
              <a:rPr lang="en-US" sz="1800" dirty="0">
                <a:solidFill>
                  <a:srgbClr val="FF4500"/>
                </a:solidFill>
                <a:latin typeface="Lucida Console" panose="020B0609040504020204" pitchFamily="49" charset="0"/>
              </a:rPr>
              <a:t>$var1</a:t>
            </a:r>
            <a:r>
              <a:rPr lang="en-US" sz="1800" dirty="0">
                <a:solidFill>
                  <a:srgbClr val="F2F2F2"/>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srgbClr val="F2F2F2"/>
                </a:solidFill>
                <a:latin typeface="Lucida Console" panose="020B0609040504020204" pitchFamily="49" charset="0"/>
              </a:rPr>
              <a:t> </a:t>
            </a:r>
            <a:r>
              <a:rPr lang="en-US" sz="1800" dirty="0">
                <a:solidFill>
                  <a:srgbClr val="FFE4B5"/>
                </a:solidFill>
                <a:latin typeface="Lucida Console" panose="020B0609040504020204" pitchFamily="49" charset="0"/>
              </a:rPr>
              <a:t>123.5</a:t>
            </a:r>
          </a:p>
          <a:p>
            <a:r>
              <a:rPr lang="en-US" sz="1800" dirty="0">
                <a:solidFill>
                  <a:srgbClr val="F2F2F2"/>
                </a:solidFill>
                <a:latin typeface="Lucida Console" panose="020B0609040504020204" pitchFamily="49" charset="0"/>
              </a:rPr>
              <a:t>PS&gt; </a:t>
            </a:r>
            <a:r>
              <a:rPr lang="en-US" sz="1800" dirty="0">
                <a:solidFill>
                  <a:srgbClr val="FF4500"/>
                </a:solidFill>
                <a:latin typeface="Lucida Console" panose="020B0609040504020204" pitchFamily="49" charset="0"/>
              </a:rPr>
              <a:t>$var1</a:t>
            </a:r>
            <a:endParaRPr lang="en-US" sz="1800" dirty="0">
              <a:solidFill>
                <a:srgbClr val="F2F2F2"/>
              </a:solidFill>
              <a:latin typeface="Lucida Console" panose="020B0609040504020204" pitchFamily="49" charset="0"/>
            </a:endParaRPr>
          </a:p>
          <a:p>
            <a:r>
              <a:rPr lang="en-US" sz="1800" dirty="0">
                <a:solidFill>
                  <a:srgbClr val="F2F2F2"/>
                </a:solidFill>
                <a:latin typeface="Lucida Console" panose="020B0609040504020204" pitchFamily="49" charset="0"/>
              </a:rPr>
              <a:t>124</a:t>
            </a:r>
          </a:p>
          <a:p>
            <a:r>
              <a:rPr lang="en-US" sz="1800" dirty="0">
                <a:solidFill>
                  <a:srgbClr val="F2F2F2"/>
                </a:solidFill>
                <a:latin typeface="Lucida Console" panose="020B0609040504020204" pitchFamily="49" charset="0"/>
              </a:rPr>
              <a:t>PS&gt; </a:t>
            </a:r>
            <a:r>
              <a:rPr lang="en-US" sz="1800" dirty="0">
                <a:solidFill>
                  <a:srgbClr val="FF4500"/>
                </a:solidFill>
                <a:latin typeface="Lucida Console" panose="020B0609040504020204" pitchFamily="49" charset="0"/>
              </a:rPr>
              <a:t>$var1 </a:t>
            </a:r>
            <a:r>
              <a:rPr lang="en-US" sz="1800" dirty="0">
                <a:solidFill>
                  <a:srgbClr val="D3D3D3"/>
                </a:solidFill>
                <a:latin typeface="Lucida Console" panose="020B0609040504020204" pitchFamily="49" charset="0"/>
              </a:rPr>
              <a:t>= </a:t>
            </a:r>
            <a:r>
              <a:rPr lang="en-US" sz="1800" dirty="0">
                <a:latin typeface="Lucida Console" panose="020B0609040504020204" pitchFamily="49" charset="0"/>
              </a:rPr>
              <a:t> </a:t>
            </a:r>
            <a:r>
              <a:rPr lang="en-US" sz="1800" dirty="0">
                <a:solidFill>
                  <a:srgbClr val="F2F2F2"/>
                </a:solidFill>
                <a:latin typeface="Lucida Console" panose="020B0609040504020204" pitchFamily="49" charset="0"/>
              </a:rPr>
              <a:t>"Fred" </a:t>
            </a:r>
          </a:p>
          <a:p>
            <a:r>
              <a:rPr lang="en-US" sz="1800" dirty="0">
                <a:solidFill>
                  <a:srgbClr val="FF4500"/>
                </a:solidFill>
                <a:latin typeface="Lucida Console" panose="020B0609040504020204" pitchFamily="49" charset="0"/>
              </a:rPr>
              <a:t>Cannot convert value "Fred" to type "System.Int32". </a:t>
            </a:r>
          </a:p>
          <a:p>
            <a:r>
              <a:rPr lang="en-US" sz="1800" dirty="0">
                <a:solidFill>
                  <a:srgbClr val="FF4500"/>
                </a:solidFill>
                <a:latin typeface="Lucida Console" panose="020B0609040504020204" pitchFamily="49" charset="0"/>
              </a:rPr>
              <a:t>Error: "Input string was not in a correct format."</a:t>
            </a:r>
          </a:p>
        </p:txBody>
      </p:sp>
      <p:sp>
        <p:nvSpPr>
          <p:cNvPr id="25" name="Rectangle 24">
            <a:extLst>
              <a:ext uri="{FF2B5EF4-FFF2-40B4-BE49-F238E27FC236}">
                <a16:creationId xmlns:a16="http://schemas.microsoft.com/office/drawing/2014/main" id="{755EBA58-42AA-4985-A9E0-3A0008E1F08B}"/>
              </a:ext>
            </a:extLst>
          </p:cNvPr>
          <p:cNvSpPr/>
          <p:nvPr/>
        </p:nvSpPr>
        <p:spPr>
          <a:xfrm>
            <a:off x="7053260" y="1442849"/>
            <a:ext cx="3756012" cy="1733481"/>
          </a:xfrm>
          <a:prstGeom prst="rect">
            <a:avLst/>
          </a:prstGeom>
          <a:solidFill>
            <a:srgbClr val="012456"/>
          </a:solidFill>
          <a:ln w="12700">
            <a:solidFill>
              <a:schemeClr val="bg1"/>
            </a:solidFill>
          </a:ln>
        </p:spPr>
        <p:txBody>
          <a:bodyPr wrap="square">
            <a:noAutofit/>
          </a:bodyPr>
          <a:lstStyle/>
          <a:p>
            <a:r>
              <a:rPr lang="en-US" sz="1800" dirty="0">
                <a:solidFill>
                  <a:srgbClr val="F2F2F2"/>
                </a:solidFill>
                <a:latin typeface="Lucida Console" panose="020B0609040504020204" pitchFamily="49" charset="0"/>
              </a:rPr>
              <a:t>PS&gt; </a:t>
            </a:r>
            <a:r>
              <a:rPr lang="en-US" sz="1800" dirty="0">
                <a:solidFill>
                  <a:srgbClr val="FF4500"/>
                </a:solidFill>
                <a:latin typeface="Lucida Console" panose="020B0609040504020204" pitchFamily="49" charset="0"/>
              </a:rPr>
              <a:t>$var1</a:t>
            </a:r>
            <a:r>
              <a:rPr lang="en-US" sz="1800" dirty="0">
                <a:solidFill>
                  <a:prstClr val="black"/>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srgbClr val="8FBC8F"/>
                </a:solidFill>
                <a:latin typeface="Lucida Console" panose="020B0609040504020204" pitchFamily="49" charset="0"/>
              </a:rPr>
              <a:t>int</a:t>
            </a:r>
            <a:r>
              <a:rPr lang="en-US" sz="1800" dirty="0">
                <a:solidFill>
                  <a:srgbClr val="D3D3D3"/>
                </a:solidFill>
                <a:latin typeface="Lucida Console" panose="020B0609040504020204" pitchFamily="49" charset="0"/>
              </a:rPr>
              <a:t>]</a:t>
            </a:r>
            <a:r>
              <a:rPr lang="en-US" sz="1800" dirty="0">
                <a:solidFill>
                  <a:srgbClr val="FFE4B5"/>
                </a:solidFill>
                <a:latin typeface="Lucida Console" panose="020B0609040504020204" pitchFamily="49" charset="0"/>
              </a:rPr>
              <a:t>1.3</a:t>
            </a:r>
          </a:p>
          <a:p>
            <a:r>
              <a:rPr lang="en-US" sz="1800" dirty="0">
                <a:solidFill>
                  <a:srgbClr val="F2F2F2"/>
                </a:solidFill>
                <a:latin typeface="Lucida Console" panose="020B0609040504020204" pitchFamily="49" charset="0"/>
              </a:rPr>
              <a:t>PS&gt; </a:t>
            </a:r>
            <a:r>
              <a:rPr lang="en-US" sz="1800" dirty="0">
                <a:solidFill>
                  <a:srgbClr val="FF4500"/>
                </a:solidFill>
                <a:latin typeface="Lucida Console" panose="020B0609040504020204" pitchFamily="49" charset="0"/>
              </a:rPr>
              <a:t>$var1</a:t>
            </a:r>
            <a:endParaRPr lang="en-US" sz="1800" dirty="0">
              <a:solidFill>
                <a:srgbClr val="F2F2F2"/>
              </a:solidFill>
              <a:latin typeface="Lucida Console" panose="020B0609040504020204" pitchFamily="49" charset="0"/>
            </a:endParaRPr>
          </a:p>
          <a:p>
            <a:r>
              <a:rPr lang="en-US" sz="1800" dirty="0">
                <a:solidFill>
                  <a:srgbClr val="F2F2F2"/>
                </a:solidFill>
                <a:latin typeface="Lucida Console" panose="020B0609040504020204" pitchFamily="49" charset="0"/>
              </a:rPr>
              <a:t>1</a:t>
            </a:r>
          </a:p>
          <a:p>
            <a:r>
              <a:rPr lang="en-US" sz="1800" dirty="0">
                <a:solidFill>
                  <a:srgbClr val="F2F2F2"/>
                </a:solidFill>
                <a:latin typeface="Lucida Console" panose="020B0609040504020204" pitchFamily="49" charset="0"/>
              </a:rPr>
              <a:t>PS&gt; </a:t>
            </a:r>
            <a:r>
              <a:rPr lang="en-US" sz="1800" dirty="0">
                <a:solidFill>
                  <a:srgbClr val="FF4500"/>
                </a:solidFill>
                <a:latin typeface="Lucida Console" panose="020B0609040504020204" pitchFamily="49" charset="0"/>
              </a:rPr>
              <a:t>$var1</a:t>
            </a:r>
            <a:r>
              <a:rPr lang="en-US" sz="1800" dirty="0">
                <a:solidFill>
                  <a:prstClr val="black"/>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FFE4B5"/>
                </a:solidFill>
                <a:latin typeface="Lucida Console" panose="020B0609040504020204" pitchFamily="49" charset="0"/>
              </a:rPr>
              <a:t>1.2</a:t>
            </a:r>
          </a:p>
          <a:p>
            <a:r>
              <a:rPr lang="en-US" sz="1800" dirty="0">
                <a:solidFill>
                  <a:srgbClr val="F2F2F2"/>
                </a:solidFill>
                <a:latin typeface="Lucida Console" panose="020B0609040504020204" pitchFamily="49" charset="0"/>
              </a:rPr>
              <a:t>PS&gt; </a:t>
            </a:r>
            <a:r>
              <a:rPr lang="en-US" sz="1800" dirty="0">
                <a:solidFill>
                  <a:srgbClr val="FF4500"/>
                </a:solidFill>
                <a:latin typeface="Lucida Console" panose="020B0609040504020204" pitchFamily="49" charset="0"/>
              </a:rPr>
              <a:t>$var1</a:t>
            </a:r>
            <a:endParaRPr lang="en-US" sz="1800" dirty="0">
              <a:solidFill>
                <a:srgbClr val="F2F2F2"/>
              </a:solidFill>
              <a:latin typeface="Lucida Console" panose="020B0609040504020204" pitchFamily="49" charset="0"/>
            </a:endParaRPr>
          </a:p>
          <a:p>
            <a:r>
              <a:rPr lang="en-US" sz="1800" dirty="0">
                <a:solidFill>
                  <a:srgbClr val="F2F2F2"/>
                </a:solidFill>
                <a:latin typeface="Lucida Console" panose="020B0609040504020204" pitchFamily="49" charset="0"/>
              </a:rPr>
              <a:t>1.2</a:t>
            </a:r>
          </a:p>
        </p:txBody>
      </p:sp>
      <p:sp>
        <p:nvSpPr>
          <p:cNvPr id="26" name="Rectangle 25">
            <a:extLst>
              <a:ext uri="{FF2B5EF4-FFF2-40B4-BE49-F238E27FC236}">
                <a16:creationId xmlns:a16="http://schemas.microsoft.com/office/drawing/2014/main" id="{1DF371CA-2357-47AC-B436-3B9CF34C2EBD}"/>
              </a:ext>
            </a:extLst>
          </p:cNvPr>
          <p:cNvSpPr/>
          <p:nvPr/>
        </p:nvSpPr>
        <p:spPr>
          <a:xfrm>
            <a:off x="7053260" y="3297045"/>
            <a:ext cx="3756012" cy="650778"/>
          </a:xfrm>
          <a:prstGeom prst="rect">
            <a:avLst/>
          </a:prstGeom>
          <a:solidFill>
            <a:srgbClr val="012456"/>
          </a:solidFill>
          <a:ln w="12700">
            <a:solidFill>
              <a:schemeClr val="bg1"/>
            </a:solidFill>
          </a:ln>
        </p:spPr>
        <p:txBody>
          <a:bodyPr wrap="square">
            <a:noAutofit/>
          </a:bodyPr>
          <a:lstStyle/>
          <a:p>
            <a:r>
              <a:rPr lang="en-US" sz="1800" dirty="0">
                <a:solidFill>
                  <a:srgbClr val="F2F2F2"/>
                </a:solidFill>
                <a:latin typeface="Lucida Console" panose="020B0609040504020204" pitchFamily="49" charset="0"/>
              </a:rPr>
              <a:t>PS&gt; </a:t>
            </a:r>
            <a:r>
              <a:rPr lang="en-US" sz="1800" dirty="0">
                <a:solidFill>
                  <a:srgbClr val="D3D3D3"/>
                </a:solidFill>
                <a:latin typeface="Lucida Console" panose="020B0609040504020204" pitchFamily="49" charset="0"/>
              </a:rPr>
              <a:t>[</a:t>
            </a:r>
            <a:r>
              <a:rPr lang="en-US" sz="1800" dirty="0">
                <a:solidFill>
                  <a:srgbClr val="8FBC8F"/>
                </a:solidFill>
                <a:latin typeface="Lucida Console" panose="020B0609040504020204" pitchFamily="49" charset="0"/>
              </a:rPr>
              <a:t>Math</a:t>
            </a:r>
            <a:r>
              <a:rPr lang="en-US" sz="1800" dirty="0">
                <a:solidFill>
                  <a:srgbClr val="D3D3D3"/>
                </a:solidFill>
                <a:latin typeface="Lucida Console" panose="020B0609040504020204" pitchFamily="49" charset="0"/>
              </a:rPr>
              <a:t>]::</a:t>
            </a:r>
            <a:r>
              <a:rPr lang="en-US" sz="1800" dirty="0">
                <a:solidFill>
                  <a:srgbClr val="F2F2F2"/>
                </a:solidFill>
                <a:latin typeface="Lucida Console" panose="020B0609040504020204" pitchFamily="49" charset="0"/>
              </a:rPr>
              <a:t>Round(</a:t>
            </a:r>
            <a:r>
              <a:rPr lang="en-US" sz="1800" dirty="0">
                <a:solidFill>
                  <a:srgbClr val="DB7093"/>
                </a:solidFill>
                <a:latin typeface="Lucida Console" panose="020B0609040504020204" pitchFamily="49" charset="0"/>
              </a:rPr>
              <a:t>11.25</a:t>
            </a:r>
            <a:r>
              <a:rPr lang="en-US" sz="1800" dirty="0">
                <a:solidFill>
                  <a:srgbClr val="F2F2F2"/>
                </a:solidFill>
                <a:latin typeface="Lucida Console" panose="020B0609040504020204" pitchFamily="49" charset="0"/>
              </a:rPr>
              <a:t>)</a:t>
            </a:r>
          </a:p>
          <a:p>
            <a:r>
              <a:rPr lang="en-US" sz="1800" dirty="0">
                <a:solidFill>
                  <a:srgbClr val="F2F2F2"/>
                </a:solidFill>
                <a:latin typeface="Lucida Console" panose="020B0609040504020204" pitchFamily="49" charset="0"/>
              </a:rPr>
              <a:t>11</a:t>
            </a:r>
          </a:p>
        </p:txBody>
      </p:sp>
      <p:sp>
        <p:nvSpPr>
          <p:cNvPr id="4" name="Rectangle 3">
            <a:extLst>
              <a:ext uri="{FF2B5EF4-FFF2-40B4-BE49-F238E27FC236}">
                <a16:creationId xmlns:a16="http://schemas.microsoft.com/office/drawing/2014/main" id="{2BE41172-B034-4D45-A93F-168DE9FE3F82}"/>
              </a:ext>
            </a:extLst>
          </p:cNvPr>
          <p:cNvSpPr/>
          <p:nvPr/>
        </p:nvSpPr>
        <p:spPr>
          <a:xfrm>
            <a:off x="655636" y="900619"/>
            <a:ext cx="10880727" cy="461665"/>
          </a:xfrm>
          <a:prstGeom prst="rect">
            <a:avLst/>
          </a:prstGeom>
        </p:spPr>
        <p:txBody>
          <a:bodyPr wrap="square">
            <a:spAutoFit/>
          </a:bodyPr>
          <a:lstStyle/>
          <a:p>
            <a:r>
              <a:rPr lang="en-US" sz="2400" dirty="0">
                <a:latin typeface="Segoe UI" panose="020B0502040204020203" pitchFamily="34" charset="0"/>
              </a:rPr>
              <a:t>Using a type name in </a:t>
            </a:r>
            <a:r>
              <a:rPr lang="en-US" sz="2400" b="1" dirty="0">
                <a:latin typeface="Segoe UI" panose="020B0502040204020203" pitchFamily="34" charset="0"/>
              </a:rPr>
              <a:t>[ Square Brackets ] </a:t>
            </a:r>
            <a:r>
              <a:rPr lang="en-US" sz="2400" dirty="0">
                <a:latin typeface="Segoe UI" panose="020B0502040204020203" pitchFamily="34" charset="0"/>
              </a:rPr>
              <a:t>enables a few common techniques</a:t>
            </a:r>
            <a:endParaRPr lang="en-US" sz="2400" dirty="0"/>
          </a:p>
        </p:txBody>
      </p:sp>
    </p:spTree>
    <p:custDataLst>
      <p:tags r:id="rId1"/>
    </p:custDataLst>
    <p:extLst>
      <p:ext uri="{BB962C8B-B14F-4D97-AF65-F5344CB8AC3E}">
        <p14:creationId xmlns:p14="http://schemas.microsoft.com/office/powerpoint/2010/main" val="2519761426"/>
      </p:ext>
    </p:extLst>
  </p:cSld>
  <p:clrMapOvr>
    <a:masterClrMapping/>
  </p:clrMapOvr>
</p:sld>
</file>

<file path=ppt/slides/slide12.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DD2FF-31D2-43D0-AB65-17D79E373EC4}"/>
              </a:ext>
            </a:extLst>
          </p:cNvPr>
          <p:cNvSpPr>
            <a:spLocks noGrp="1"/>
          </p:cNvSpPr>
          <p:nvPr>
            <p:ph type="title"/>
          </p:nvPr>
        </p:nvSpPr>
        <p:spPr>
          <a:xfrm>
            <a:off x="655638" y="320040"/>
            <a:ext cx="11221730" cy="923330"/>
          </a:xfrm>
        </p:spPr>
        <p:txBody>
          <a:bodyPr/>
          <a:lstStyle/>
          <a:p>
            <a:r>
              <a:rPr lang="en-US" dirty="0"/>
              <a:t>Arrays</a:t>
            </a:r>
            <a:br>
              <a:rPr lang="en-US" dirty="0"/>
            </a:br>
            <a:endParaRPr lang="en-US" dirty="0"/>
          </a:p>
        </p:txBody>
      </p:sp>
      <p:sp>
        <p:nvSpPr>
          <p:cNvPr id="22" name="Rectangle 21">
            <a:extLst>
              <a:ext uri="{FF2B5EF4-FFF2-40B4-BE49-F238E27FC236}">
                <a16:creationId xmlns:a16="http://schemas.microsoft.com/office/drawing/2014/main" id="{79600A9E-8860-49E6-A2A3-5FBFCCB1C1AD}"/>
              </a:ext>
            </a:extLst>
          </p:cNvPr>
          <p:cNvSpPr/>
          <p:nvPr/>
        </p:nvSpPr>
        <p:spPr>
          <a:xfrm>
            <a:off x="6480810" y="976746"/>
            <a:ext cx="5570315" cy="5642264"/>
          </a:xfrm>
          <a:prstGeom prst="rect">
            <a:avLst/>
          </a:prstGeom>
          <a:solidFill>
            <a:srgbClr val="012456"/>
          </a:solidFill>
          <a:ln w="12700">
            <a:solidFill>
              <a:schemeClr val="bg1"/>
            </a:solidFill>
          </a:ln>
        </p:spPr>
        <p:txBody>
          <a:bodyPr wrap="square">
            <a:noAutofit/>
          </a:bodyPr>
          <a:lstStyle/>
          <a:p>
            <a:r>
              <a:rPr lang="en-US" sz="1800" dirty="0">
                <a:solidFill>
                  <a:srgbClr val="F2F2F2"/>
                </a:solidFill>
                <a:latin typeface="Lucida Console" panose="020B0609040504020204" pitchFamily="49" charset="0"/>
              </a:rPr>
              <a:t>PS&gt; </a:t>
            </a: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MyArray</a:t>
            </a:r>
            <a:r>
              <a:rPr lang="en-US" sz="1800" dirty="0">
                <a:solidFill>
                  <a:srgbClr val="F5F5F5"/>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srgbClr val="F5F5F5"/>
                </a:solidFill>
                <a:latin typeface="Lucida Console" panose="020B0609040504020204" pitchFamily="49" charset="0"/>
              </a:rPr>
              <a:t> </a:t>
            </a:r>
            <a:r>
              <a:rPr lang="en-US" sz="1800" dirty="0">
                <a:solidFill>
                  <a:srgbClr val="FFE4C4"/>
                </a:solidFill>
                <a:latin typeface="Lucida Console" panose="020B0609040504020204" pitchFamily="49" charset="0"/>
              </a:rPr>
              <a:t>1</a:t>
            </a:r>
            <a:r>
              <a:rPr lang="en-US" sz="1800" dirty="0">
                <a:solidFill>
                  <a:srgbClr val="D3D3D3"/>
                </a:solidFill>
                <a:latin typeface="Lucida Console" panose="020B0609040504020204" pitchFamily="49" charset="0"/>
              </a:rPr>
              <a:t>,</a:t>
            </a:r>
            <a:r>
              <a:rPr lang="en-US" sz="1800" dirty="0">
                <a:solidFill>
                  <a:srgbClr val="FFE4C4"/>
                </a:solidFill>
                <a:latin typeface="Lucida Console" panose="020B0609040504020204" pitchFamily="49" charset="0"/>
              </a:rPr>
              <a:t>2</a:t>
            </a:r>
            <a:r>
              <a:rPr lang="en-US" sz="1800" dirty="0">
                <a:solidFill>
                  <a:srgbClr val="D3D3D3"/>
                </a:solidFill>
                <a:latin typeface="Lucida Console" panose="020B0609040504020204" pitchFamily="49" charset="0"/>
              </a:rPr>
              <a:t>,</a:t>
            </a:r>
            <a:r>
              <a:rPr lang="en-US" sz="1800" dirty="0">
                <a:solidFill>
                  <a:srgbClr val="DB7093"/>
                </a:solidFill>
                <a:latin typeface="Lucida Console" panose="020B0609040504020204" pitchFamily="49" charset="0"/>
              </a:rPr>
              <a:t>"buckle"</a:t>
            </a:r>
            <a:r>
              <a:rPr lang="en-US" sz="1800" dirty="0">
                <a:solidFill>
                  <a:srgbClr val="D3D3D3"/>
                </a:solidFill>
                <a:latin typeface="Lucida Console" panose="020B0609040504020204" pitchFamily="49" charset="0"/>
              </a:rPr>
              <a:t>,</a:t>
            </a:r>
            <a:r>
              <a:rPr lang="en-US" sz="1800" dirty="0">
                <a:solidFill>
                  <a:srgbClr val="DB7093"/>
                </a:solidFill>
                <a:latin typeface="Lucida Console" panose="020B0609040504020204" pitchFamily="49" charset="0"/>
              </a:rPr>
              <a:t>"my"</a:t>
            </a:r>
            <a:r>
              <a:rPr lang="en-US" sz="1800" dirty="0">
                <a:solidFill>
                  <a:srgbClr val="D3D3D3"/>
                </a:solidFill>
                <a:latin typeface="Lucida Console" panose="020B0609040504020204" pitchFamily="49" charset="0"/>
              </a:rPr>
              <a:t>,</a:t>
            </a:r>
            <a:r>
              <a:rPr lang="en-US" sz="1800" dirty="0">
                <a:solidFill>
                  <a:srgbClr val="DB7093"/>
                </a:solidFill>
                <a:latin typeface="Lucida Console" panose="020B0609040504020204" pitchFamily="49" charset="0"/>
              </a:rPr>
              <a:t>"shoe"</a:t>
            </a:r>
            <a:endParaRPr lang="en-US" sz="1800" dirty="0">
              <a:solidFill>
                <a:srgbClr val="F5F5F5"/>
              </a:solidFill>
              <a:latin typeface="Lucida Console" panose="020B0609040504020204" pitchFamily="49" charset="0"/>
            </a:endParaRPr>
          </a:p>
          <a:p>
            <a:r>
              <a:rPr lang="en-US" sz="1800" dirty="0">
                <a:solidFill>
                  <a:srgbClr val="F2F2F2"/>
                </a:solidFill>
                <a:latin typeface="Lucida Console" panose="020B0609040504020204" pitchFamily="49" charset="0"/>
              </a:rPr>
              <a:t>PS&gt; </a:t>
            </a: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MyArray</a:t>
            </a:r>
            <a:r>
              <a:rPr lang="en-US" sz="1800" dirty="0">
                <a:solidFill>
                  <a:srgbClr val="D3D3D3"/>
                </a:solidFill>
                <a:latin typeface="Lucida Console" panose="020B0609040504020204" pitchFamily="49" charset="0"/>
              </a:rPr>
              <a:t>[</a:t>
            </a:r>
            <a:r>
              <a:rPr lang="en-US" sz="1800" dirty="0">
                <a:solidFill>
                  <a:srgbClr val="FFE4C4"/>
                </a:solidFill>
                <a:latin typeface="Lucida Console" panose="020B0609040504020204" pitchFamily="49" charset="0"/>
              </a:rPr>
              <a:t>0</a:t>
            </a:r>
            <a:r>
              <a:rPr lang="en-US" sz="1800" dirty="0">
                <a:solidFill>
                  <a:srgbClr val="D3D3D3"/>
                </a:solidFill>
                <a:latin typeface="Lucida Console" panose="020B0609040504020204" pitchFamily="49" charset="0"/>
              </a:rPr>
              <a:t>]</a:t>
            </a:r>
            <a:endParaRPr lang="en-US" sz="1800" dirty="0">
              <a:solidFill>
                <a:srgbClr val="F5F5F5"/>
              </a:solidFill>
              <a:latin typeface="Lucida Console" panose="020B0609040504020204" pitchFamily="49" charset="0"/>
            </a:endParaRPr>
          </a:p>
          <a:p>
            <a:r>
              <a:rPr lang="en-US" sz="1800" dirty="0">
                <a:solidFill>
                  <a:srgbClr val="F5F5F5"/>
                </a:solidFill>
                <a:latin typeface="Lucida Console" panose="020B0609040504020204" pitchFamily="49" charset="0"/>
              </a:rPr>
              <a:t>1 </a:t>
            </a:r>
          </a:p>
          <a:p>
            <a:endParaRPr lang="en-US" sz="1800" dirty="0">
              <a:solidFill>
                <a:srgbClr val="F5F5F5"/>
              </a:solidFill>
              <a:latin typeface="Lucida Console" panose="020B0609040504020204" pitchFamily="49" charset="0"/>
            </a:endParaRPr>
          </a:p>
          <a:p>
            <a:r>
              <a:rPr lang="en-US" sz="1800" dirty="0">
                <a:solidFill>
                  <a:srgbClr val="F2F2F2"/>
                </a:solidFill>
                <a:latin typeface="Lucida Console" panose="020B0609040504020204" pitchFamily="49" charset="0"/>
              </a:rPr>
              <a:t>PS&gt; </a:t>
            </a: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MyArray</a:t>
            </a:r>
            <a:r>
              <a:rPr lang="en-US" sz="1800" dirty="0">
                <a:solidFill>
                  <a:srgbClr val="D3D3D3"/>
                </a:solidFill>
                <a:latin typeface="Lucida Console" panose="020B0609040504020204" pitchFamily="49" charset="0"/>
              </a:rPr>
              <a:t>[</a:t>
            </a:r>
            <a:r>
              <a:rPr lang="en-US" sz="1800" dirty="0">
                <a:solidFill>
                  <a:srgbClr val="FFE4C4"/>
                </a:solidFill>
                <a:latin typeface="Lucida Console" panose="020B0609040504020204" pitchFamily="49" charset="0"/>
              </a:rPr>
              <a:t>-1</a:t>
            </a:r>
            <a:r>
              <a:rPr lang="en-US" sz="1800" dirty="0">
                <a:solidFill>
                  <a:srgbClr val="D3D3D3"/>
                </a:solidFill>
                <a:latin typeface="Lucida Console" panose="020B0609040504020204" pitchFamily="49" charset="0"/>
              </a:rPr>
              <a:t>]</a:t>
            </a:r>
            <a:endParaRPr lang="en-US" sz="1800" dirty="0">
              <a:solidFill>
                <a:srgbClr val="F5F5F5"/>
              </a:solidFill>
              <a:latin typeface="Lucida Console" panose="020B0609040504020204" pitchFamily="49" charset="0"/>
            </a:endParaRPr>
          </a:p>
          <a:p>
            <a:r>
              <a:rPr lang="en-US" sz="1800" dirty="0">
                <a:solidFill>
                  <a:srgbClr val="F5F5F5"/>
                </a:solidFill>
                <a:latin typeface="Lucida Console" panose="020B0609040504020204" pitchFamily="49" charset="0"/>
              </a:rPr>
              <a:t>shoe </a:t>
            </a:r>
          </a:p>
          <a:p>
            <a:endParaRPr lang="en-US" sz="1800" dirty="0">
              <a:solidFill>
                <a:srgbClr val="F5F5F5"/>
              </a:solidFill>
              <a:latin typeface="Lucida Console" panose="020B0609040504020204" pitchFamily="49" charset="0"/>
            </a:endParaRPr>
          </a:p>
          <a:p>
            <a:r>
              <a:rPr lang="en-US" sz="1800" dirty="0">
                <a:solidFill>
                  <a:srgbClr val="F2F2F2"/>
                </a:solidFill>
                <a:latin typeface="Lucida Console" panose="020B0609040504020204" pitchFamily="49" charset="0"/>
              </a:rPr>
              <a:t>PS&gt; </a:t>
            </a: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MyArray</a:t>
            </a:r>
            <a:r>
              <a:rPr lang="en-US" sz="1800" dirty="0">
                <a:solidFill>
                  <a:srgbClr val="D3D3D3"/>
                </a:solidFill>
                <a:latin typeface="Lucida Console" panose="020B0609040504020204" pitchFamily="49" charset="0"/>
              </a:rPr>
              <a:t>[</a:t>
            </a:r>
            <a:r>
              <a:rPr lang="en-US" sz="1800" dirty="0">
                <a:solidFill>
                  <a:srgbClr val="FFE4C4"/>
                </a:solidFill>
                <a:latin typeface="Lucida Console" panose="020B0609040504020204" pitchFamily="49" charset="0"/>
              </a:rPr>
              <a:t>0</a:t>
            </a:r>
            <a:r>
              <a:rPr lang="en-US" sz="1800" dirty="0">
                <a:solidFill>
                  <a:srgbClr val="D3D3D3"/>
                </a:solidFill>
                <a:latin typeface="Lucida Console" panose="020B0609040504020204" pitchFamily="49" charset="0"/>
              </a:rPr>
              <a:t>..</a:t>
            </a:r>
            <a:r>
              <a:rPr lang="en-US" sz="1800" dirty="0">
                <a:solidFill>
                  <a:srgbClr val="FFE4C4"/>
                </a:solidFill>
                <a:latin typeface="Lucida Console" panose="020B0609040504020204" pitchFamily="49" charset="0"/>
              </a:rPr>
              <a:t>2</a:t>
            </a:r>
            <a:r>
              <a:rPr lang="en-US" sz="1800" dirty="0">
                <a:solidFill>
                  <a:srgbClr val="D3D3D3"/>
                </a:solidFill>
                <a:latin typeface="Lucida Console" panose="020B0609040504020204" pitchFamily="49" charset="0"/>
              </a:rPr>
              <a:t>]</a:t>
            </a:r>
            <a:endParaRPr lang="en-US" sz="1800" dirty="0">
              <a:solidFill>
                <a:srgbClr val="F5F5F5"/>
              </a:solidFill>
              <a:latin typeface="Lucida Console" panose="020B0609040504020204" pitchFamily="49" charset="0"/>
            </a:endParaRPr>
          </a:p>
          <a:p>
            <a:r>
              <a:rPr lang="en-US" sz="1800" dirty="0">
                <a:solidFill>
                  <a:srgbClr val="F5F5F5"/>
                </a:solidFill>
                <a:latin typeface="Lucida Console" panose="020B0609040504020204" pitchFamily="49" charset="0"/>
              </a:rPr>
              <a:t>1</a:t>
            </a:r>
          </a:p>
          <a:p>
            <a:r>
              <a:rPr lang="en-US" sz="1800" dirty="0">
                <a:solidFill>
                  <a:srgbClr val="F5F5F5"/>
                </a:solidFill>
                <a:latin typeface="Lucida Console" panose="020B0609040504020204" pitchFamily="49" charset="0"/>
              </a:rPr>
              <a:t>2</a:t>
            </a:r>
          </a:p>
          <a:p>
            <a:r>
              <a:rPr lang="en-US" sz="1800" dirty="0">
                <a:solidFill>
                  <a:srgbClr val="F5F5F5"/>
                </a:solidFill>
                <a:latin typeface="Lucida Console" panose="020B0609040504020204" pitchFamily="49" charset="0"/>
              </a:rPr>
              <a:t>Buckle</a:t>
            </a:r>
          </a:p>
          <a:p>
            <a:endParaRPr lang="en-US" sz="1800" dirty="0">
              <a:solidFill>
                <a:srgbClr val="F5F5F5"/>
              </a:solidFill>
              <a:latin typeface="Lucida Console" panose="020B0609040504020204" pitchFamily="49" charset="0"/>
            </a:endParaRPr>
          </a:p>
          <a:p>
            <a:r>
              <a:rPr lang="en-US" sz="1800" dirty="0">
                <a:solidFill>
                  <a:srgbClr val="F2F2F2"/>
                </a:solidFill>
                <a:latin typeface="Lucida Console" panose="020B0609040504020204" pitchFamily="49" charset="0"/>
              </a:rPr>
              <a:t>PS&gt; </a:t>
            </a: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MyArray</a:t>
            </a:r>
            <a:r>
              <a:rPr lang="en-US" sz="1800" dirty="0">
                <a:solidFill>
                  <a:srgbClr val="D3D3D3"/>
                </a:solidFill>
                <a:latin typeface="Lucida Console" panose="020B0609040504020204" pitchFamily="49" charset="0"/>
              </a:rPr>
              <a:t>[</a:t>
            </a:r>
            <a:r>
              <a:rPr lang="en-US" sz="1800" dirty="0">
                <a:solidFill>
                  <a:srgbClr val="FFE4C4"/>
                </a:solidFill>
                <a:latin typeface="Lucida Console" panose="020B0609040504020204" pitchFamily="49" charset="0"/>
              </a:rPr>
              <a:t>0</a:t>
            </a:r>
            <a:r>
              <a:rPr lang="en-US" sz="1800" dirty="0">
                <a:solidFill>
                  <a:srgbClr val="D3D3D3"/>
                </a:solidFill>
                <a:latin typeface="Lucida Console" panose="020B0609040504020204" pitchFamily="49" charset="0"/>
              </a:rPr>
              <a:t>,</a:t>
            </a:r>
            <a:r>
              <a:rPr lang="en-US" sz="1800" dirty="0">
                <a:solidFill>
                  <a:srgbClr val="FFE4C4"/>
                </a:solidFill>
                <a:latin typeface="Lucida Console" panose="020B0609040504020204" pitchFamily="49" charset="0"/>
              </a:rPr>
              <a:t>3</a:t>
            </a:r>
            <a:r>
              <a:rPr lang="en-US" sz="1800" dirty="0">
                <a:solidFill>
                  <a:srgbClr val="D3D3D3"/>
                </a:solidFill>
                <a:latin typeface="Lucida Console" panose="020B0609040504020204" pitchFamily="49" charset="0"/>
              </a:rPr>
              <a:t>] </a:t>
            </a:r>
          </a:p>
          <a:p>
            <a:r>
              <a:rPr lang="en-US" sz="1800" dirty="0">
                <a:solidFill>
                  <a:srgbClr val="F5F5F5"/>
                </a:solidFill>
                <a:latin typeface="Lucida Console" panose="020B0609040504020204" pitchFamily="49" charset="0"/>
              </a:rPr>
              <a:t>1</a:t>
            </a:r>
          </a:p>
          <a:p>
            <a:r>
              <a:rPr lang="en-US" sz="1800" dirty="0">
                <a:solidFill>
                  <a:srgbClr val="F5F5F5"/>
                </a:solidFill>
                <a:latin typeface="Lucida Console" panose="020B0609040504020204" pitchFamily="49" charset="0"/>
              </a:rPr>
              <a:t>my </a:t>
            </a:r>
          </a:p>
          <a:p>
            <a:r>
              <a:rPr lang="en-US" sz="1800" dirty="0">
                <a:solidFill>
                  <a:srgbClr val="F5F5F5"/>
                </a:solidFill>
                <a:latin typeface="Lucida Console" panose="020B0609040504020204" pitchFamily="49" charset="0"/>
              </a:rPr>
              <a:t> </a:t>
            </a:r>
          </a:p>
          <a:p>
            <a:r>
              <a:rPr lang="en-US" sz="1800" dirty="0">
                <a:solidFill>
                  <a:srgbClr val="F2F2F2"/>
                </a:solidFill>
                <a:latin typeface="Lucida Console" panose="020B0609040504020204" pitchFamily="49" charset="0"/>
              </a:rPr>
              <a:t>PS&gt; </a:t>
            </a: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MyArray</a:t>
            </a:r>
            <a:r>
              <a:rPr lang="en-US" sz="1800" dirty="0">
                <a:solidFill>
                  <a:srgbClr val="D3D3D3"/>
                </a:solidFill>
                <a:latin typeface="Lucida Console" panose="020B0609040504020204" pitchFamily="49" charset="0"/>
              </a:rPr>
              <a:t>[</a:t>
            </a:r>
            <a:r>
              <a:rPr lang="en-US" sz="1800" dirty="0">
                <a:solidFill>
                  <a:srgbClr val="FFE4C4"/>
                </a:solidFill>
                <a:latin typeface="Lucida Console" panose="020B0609040504020204" pitchFamily="49" charset="0"/>
              </a:rPr>
              <a:t>4</a:t>
            </a:r>
            <a:r>
              <a:rPr lang="en-US" sz="1800" dirty="0">
                <a:solidFill>
                  <a:srgbClr val="D3D3D3"/>
                </a:solidFill>
                <a:latin typeface="Lucida Console" panose="020B0609040504020204" pitchFamily="49" charset="0"/>
              </a:rPr>
              <a:t>].</a:t>
            </a:r>
            <a:r>
              <a:rPr lang="en-US" sz="1800" dirty="0" err="1">
                <a:solidFill>
                  <a:srgbClr val="F5F5F5"/>
                </a:solidFill>
                <a:latin typeface="Lucida Console" panose="020B0609040504020204" pitchFamily="49" charset="0"/>
              </a:rPr>
              <a:t>ToUpper</a:t>
            </a:r>
            <a:r>
              <a:rPr lang="en-US" sz="1800" dirty="0">
                <a:solidFill>
                  <a:srgbClr val="F5F5F5"/>
                </a:solidFill>
                <a:latin typeface="Lucida Console" panose="020B0609040504020204" pitchFamily="49" charset="0"/>
              </a:rPr>
              <a:t>() </a:t>
            </a:r>
          </a:p>
          <a:p>
            <a:r>
              <a:rPr lang="en-US" sz="1800" dirty="0">
                <a:solidFill>
                  <a:srgbClr val="F5F5F5"/>
                </a:solidFill>
                <a:latin typeface="Lucida Console" panose="020B0609040504020204" pitchFamily="49" charset="0"/>
              </a:rPr>
              <a:t>SHOE </a:t>
            </a:r>
          </a:p>
          <a:p>
            <a:r>
              <a:rPr lang="en-US" sz="1800" dirty="0">
                <a:solidFill>
                  <a:srgbClr val="F5F5F5"/>
                </a:solidFill>
                <a:latin typeface="Lucida Console" panose="020B0609040504020204" pitchFamily="49" charset="0"/>
              </a:rPr>
              <a:t> </a:t>
            </a:r>
          </a:p>
          <a:p>
            <a:endParaRPr lang="en-US" sz="1800" dirty="0">
              <a:solidFill>
                <a:srgbClr val="F5F5F5"/>
              </a:solidFill>
              <a:latin typeface="Lucida Console" panose="020B0609040504020204" pitchFamily="49" charset="0"/>
            </a:endParaRPr>
          </a:p>
        </p:txBody>
      </p:sp>
      <p:graphicFrame>
        <p:nvGraphicFramePr>
          <p:cNvPr id="10" name="Content Placeholder 2">
            <a:extLst>
              <a:ext uri="{FF2B5EF4-FFF2-40B4-BE49-F238E27FC236}">
                <a16:creationId xmlns:a16="http://schemas.microsoft.com/office/drawing/2014/main" id="{EF3D3CA3-6CDF-47DB-859B-B157AFB1AA72}"/>
              </a:ext>
            </a:extLst>
          </p:cNvPr>
          <p:cNvGraphicFramePr>
            <a:graphicFrameLocks noGrp="1"/>
          </p:cNvGraphicFramePr>
          <p:nvPr>
            <p:ph sz="quarter" idx="13"/>
            <p:extLst>
              <p:ext uri="{D42A27DB-BD31-4B8C-83A1-F6EECF244321}">
                <p14:modId xmlns:p14="http://schemas.microsoft.com/office/powerpoint/2010/main" val="1807864617"/>
              </p:ext>
            </p:extLst>
          </p:nvPr>
        </p:nvGraphicFramePr>
        <p:xfrm>
          <a:off x="83128" y="893618"/>
          <a:ext cx="6114472" cy="58916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310237727"/>
      </p:ext>
    </p:extLst>
  </p:cSld>
  <p:clrMapOvr>
    <a:masterClrMapping/>
  </p:clrMapOvr>
</p:sld>
</file>

<file path=ppt/slides/slide13.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ow Control - Loops</a:t>
            </a:r>
          </a:p>
        </p:txBody>
      </p:sp>
      <p:graphicFrame>
        <p:nvGraphicFramePr>
          <p:cNvPr id="6" name="Content Placeholder 5">
            <a:extLst>
              <a:ext uri="{FF2B5EF4-FFF2-40B4-BE49-F238E27FC236}">
                <a16:creationId xmlns:a16="http://schemas.microsoft.com/office/drawing/2014/main" id="{A59EC61C-A586-4373-A2DD-7E525C2445AA}"/>
              </a:ext>
            </a:extLst>
          </p:cNvPr>
          <p:cNvGraphicFramePr>
            <a:graphicFrameLocks noGrp="1"/>
          </p:cNvGraphicFramePr>
          <p:nvPr>
            <p:ph sz="quarter" idx="13"/>
            <p:extLst>
              <p:ext uri="{D42A27DB-BD31-4B8C-83A1-F6EECF244321}">
                <p14:modId xmlns:p14="http://schemas.microsoft.com/office/powerpoint/2010/main" val="1992949622"/>
              </p:ext>
            </p:extLst>
          </p:nvPr>
        </p:nvGraphicFramePr>
        <p:xfrm>
          <a:off x="120596" y="594667"/>
          <a:ext cx="11983114" cy="165350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Rectangle 6">
            <a:extLst>
              <a:ext uri="{FF2B5EF4-FFF2-40B4-BE49-F238E27FC236}">
                <a16:creationId xmlns:a16="http://schemas.microsoft.com/office/drawing/2014/main" id="{4EF6C945-4B5E-40D0-9BA0-4CD9F5D38603}"/>
              </a:ext>
            </a:extLst>
          </p:cNvPr>
          <p:cNvSpPr/>
          <p:nvPr/>
        </p:nvSpPr>
        <p:spPr>
          <a:xfrm>
            <a:off x="120595" y="2054037"/>
            <a:ext cx="3808465" cy="2031325"/>
          </a:xfrm>
          <a:prstGeom prst="rect">
            <a:avLst/>
          </a:prstGeom>
          <a:solidFill>
            <a:schemeClr val="tx2">
              <a:lumMod val="20000"/>
              <a:lumOff val="80000"/>
            </a:schemeClr>
          </a:solidFill>
        </p:spPr>
        <p:txBody>
          <a:bodyPr wrap="square">
            <a:spAutoFit/>
          </a:bodyPr>
          <a:lstStyle/>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i</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0</a:t>
            </a:r>
            <a:endParaRPr lang="en-US" sz="1800" dirty="0">
              <a:solidFill>
                <a:prstClr val="black"/>
              </a:solidFill>
              <a:latin typeface="Lucida Console" panose="020B0609040504020204" pitchFamily="49" charset="0"/>
            </a:endParaRPr>
          </a:p>
          <a:p>
            <a:r>
              <a:rPr lang="en-US" sz="1800" dirty="0">
                <a:solidFill>
                  <a:srgbClr val="00008B"/>
                </a:solidFill>
                <a:latin typeface="Lucida Console" panose="020B0609040504020204" pitchFamily="49" charset="0"/>
              </a:rPr>
              <a:t>While</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i</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err="1">
                <a:solidFill>
                  <a:srgbClr val="696969"/>
                </a:solidFill>
                <a:latin typeface="Lucida Console" panose="020B0609040504020204" pitchFamily="49" charset="0"/>
              </a:rPr>
              <a:t>lt</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5</a:t>
            </a:r>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Write-Host</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i</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i</a:t>
            </a:r>
            <a:r>
              <a:rPr lang="en-US" sz="1800" dirty="0">
                <a:solidFill>
                  <a:srgbClr val="696969"/>
                </a:solidFill>
                <a:latin typeface="Lucida Console" panose="020B0609040504020204" pitchFamily="49" charset="0"/>
              </a:rPr>
              <a: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a:p>
            <a:endParaRPr lang="en-US" sz="1800" dirty="0">
              <a:solidFill>
                <a:prstClr val="black"/>
              </a:solidFill>
              <a:latin typeface="Lucida Console" panose="020B0609040504020204" pitchFamily="49" charset="0"/>
            </a:endParaRPr>
          </a:p>
        </p:txBody>
      </p:sp>
      <p:sp>
        <p:nvSpPr>
          <p:cNvPr id="9" name="Rectangle 8">
            <a:extLst>
              <a:ext uri="{FF2B5EF4-FFF2-40B4-BE49-F238E27FC236}">
                <a16:creationId xmlns:a16="http://schemas.microsoft.com/office/drawing/2014/main" id="{23FB7573-D99B-4D17-8962-C58EEE6E6E70}"/>
              </a:ext>
            </a:extLst>
          </p:cNvPr>
          <p:cNvSpPr/>
          <p:nvPr/>
        </p:nvSpPr>
        <p:spPr>
          <a:xfrm>
            <a:off x="4303241" y="2060040"/>
            <a:ext cx="3713143" cy="2031325"/>
          </a:xfrm>
          <a:prstGeom prst="rect">
            <a:avLst/>
          </a:prstGeom>
          <a:solidFill>
            <a:schemeClr val="tx2">
              <a:lumMod val="20000"/>
              <a:lumOff val="80000"/>
            </a:schemeClr>
          </a:solidFill>
        </p:spPr>
        <p:txBody>
          <a:bodyPr wrap="square">
            <a:spAutoFit/>
          </a:bodyPr>
          <a:lstStyle/>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i</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100</a:t>
            </a:r>
            <a:endParaRPr lang="en-US" sz="1800" dirty="0">
              <a:solidFill>
                <a:prstClr val="black"/>
              </a:solidFill>
              <a:latin typeface="Lucida Console" panose="020B0609040504020204" pitchFamily="49" charset="0"/>
            </a:endParaRPr>
          </a:p>
          <a:p>
            <a:r>
              <a:rPr lang="en-US" sz="1800" dirty="0">
                <a:solidFill>
                  <a:srgbClr val="00008B"/>
                </a:solidFill>
                <a:latin typeface="Lucida Console" panose="020B0609040504020204" pitchFamily="49" charset="0"/>
              </a:rPr>
              <a:t>do</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Write-Host</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i</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i</a:t>
            </a:r>
            <a:r>
              <a:rPr lang="en-US" sz="1800" dirty="0">
                <a:solidFill>
                  <a:srgbClr val="696969"/>
                </a:solidFill>
                <a:latin typeface="Lucida Console" panose="020B0609040504020204" pitchFamily="49" charset="0"/>
              </a:rPr>
              <a: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r>
              <a:rPr lang="en-US" sz="1800" dirty="0">
                <a:solidFill>
                  <a:srgbClr val="00008B"/>
                </a:solidFill>
                <a:latin typeface="Lucida Console" panose="020B0609040504020204" pitchFamily="49" charset="0"/>
              </a:rPr>
              <a:t>While</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i</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err="1">
                <a:solidFill>
                  <a:srgbClr val="696969"/>
                </a:solidFill>
                <a:latin typeface="Lucida Console" panose="020B0609040504020204" pitchFamily="49" charset="0"/>
              </a:rPr>
              <a:t>lt</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5</a:t>
            </a:r>
            <a:r>
              <a:rPr lang="en-US" sz="1800" dirty="0">
                <a:solidFill>
                  <a:prstClr val="black"/>
                </a:solidFill>
                <a:latin typeface="Lucida Console" panose="020B0609040504020204" pitchFamily="49" charset="0"/>
              </a:rPr>
              <a:t>)</a:t>
            </a:r>
          </a:p>
        </p:txBody>
      </p:sp>
      <p:sp>
        <p:nvSpPr>
          <p:cNvPr id="11" name="Rectangle 10">
            <a:extLst>
              <a:ext uri="{FF2B5EF4-FFF2-40B4-BE49-F238E27FC236}">
                <a16:creationId xmlns:a16="http://schemas.microsoft.com/office/drawing/2014/main" id="{3D27A5D7-3902-4A79-AA63-4BE2C52E5D50}"/>
              </a:ext>
            </a:extLst>
          </p:cNvPr>
          <p:cNvSpPr/>
          <p:nvPr/>
        </p:nvSpPr>
        <p:spPr>
          <a:xfrm>
            <a:off x="8390568" y="2060041"/>
            <a:ext cx="3713142" cy="2031325"/>
          </a:xfrm>
          <a:prstGeom prst="rect">
            <a:avLst/>
          </a:prstGeom>
          <a:solidFill>
            <a:schemeClr val="tx2">
              <a:lumMod val="20000"/>
              <a:lumOff val="80000"/>
            </a:schemeClr>
          </a:solidFill>
        </p:spPr>
        <p:txBody>
          <a:bodyPr wrap="square">
            <a:spAutoFit/>
          </a:bodyPr>
          <a:lstStyle/>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i</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10</a:t>
            </a:r>
            <a:endParaRPr lang="en-US" sz="1800" dirty="0">
              <a:solidFill>
                <a:prstClr val="black"/>
              </a:solidFill>
              <a:latin typeface="Lucida Console" panose="020B0609040504020204" pitchFamily="49" charset="0"/>
            </a:endParaRPr>
          </a:p>
          <a:p>
            <a:r>
              <a:rPr lang="en-US" sz="1800" dirty="0">
                <a:solidFill>
                  <a:srgbClr val="00008B"/>
                </a:solidFill>
                <a:latin typeface="Lucida Console" panose="020B0609040504020204" pitchFamily="49" charset="0"/>
              </a:rPr>
              <a:t>do</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Write-Host</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i</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i</a:t>
            </a:r>
            <a:r>
              <a:rPr lang="en-US" sz="1800" dirty="0">
                <a:solidFill>
                  <a:srgbClr val="696969"/>
                </a:solidFill>
                <a:latin typeface="Lucida Console" panose="020B0609040504020204" pitchFamily="49" charset="0"/>
              </a:rPr>
              <a:t>--</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r>
              <a:rPr lang="en-US" sz="1800" dirty="0">
                <a:solidFill>
                  <a:srgbClr val="00008B"/>
                </a:solidFill>
                <a:latin typeface="Lucida Console" panose="020B0609040504020204" pitchFamily="49" charset="0"/>
              </a:rPr>
              <a:t>until</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i</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err="1">
                <a:solidFill>
                  <a:srgbClr val="696969"/>
                </a:solidFill>
                <a:latin typeface="Lucida Console" panose="020B0609040504020204" pitchFamily="49" charset="0"/>
              </a:rPr>
              <a:t>lt</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5</a:t>
            </a:r>
            <a:r>
              <a:rPr lang="en-US" sz="1800" dirty="0">
                <a:solidFill>
                  <a:prstClr val="black"/>
                </a:solidFill>
                <a:latin typeface="Lucida Console" panose="020B0609040504020204" pitchFamily="49" charset="0"/>
              </a:rPr>
              <a:t>) </a:t>
            </a:r>
          </a:p>
        </p:txBody>
      </p:sp>
      <p:sp>
        <p:nvSpPr>
          <p:cNvPr id="12" name="Rectangle 11">
            <a:extLst>
              <a:ext uri="{FF2B5EF4-FFF2-40B4-BE49-F238E27FC236}">
                <a16:creationId xmlns:a16="http://schemas.microsoft.com/office/drawing/2014/main" id="{862A5166-0E4E-4E6E-9497-CFBDDA21AC90}"/>
              </a:ext>
            </a:extLst>
          </p:cNvPr>
          <p:cNvSpPr/>
          <p:nvPr/>
        </p:nvSpPr>
        <p:spPr>
          <a:xfrm>
            <a:off x="120594" y="5299483"/>
            <a:ext cx="5836859" cy="1477328"/>
          </a:xfrm>
          <a:prstGeom prst="rect">
            <a:avLst/>
          </a:prstGeom>
          <a:solidFill>
            <a:schemeClr val="tx2">
              <a:lumMod val="20000"/>
              <a:lumOff val="80000"/>
            </a:schemeClr>
          </a:solidFill>
        </p:spPr>
        <p:txBody>
          <a:bodyPr wrap="square">
            <a:spAutoFit/>
          </a:bodyPr>
          <a:lstStyle/>
          <a:p>
            <a:r>
              <a:rPr lang="nn-NO" sz="1800" dirty="0">
                <a:solidFill>
                  <a:srgbClr val="00008B"/>
                </a:solidFill>
                <a:latin typeface="Lucida Console" panose="020B0609040504020204" pitchFamily="49" charset="0"/>
              </a:rPr>
              <a:t>For</a:t>
            </a:r>
            <a:r>
              <a:rPr lang="nn-NO" sz="1800" dirty="0">
                <a:solidFill>
                  <a:prstClr val="black"/>
                </a:solidFill>
                <a:latin typeface="Lucida Console" panose="020B0609040504020204" pitchFamily="49" charset="0"/>
              </a:rPr>
              <a:t>(</a:t>
            </a:r>
            <a:r>
              <a:rPr lang="nn-NO" sz="1800" dirty="0">
                <a:solidFill>
                  <a:srgbClr val="A82D00"/>
                </a:solidFill>
                <a:latin typeface="Lucida Console" panose="020B0609040504020204" pitchFamily="49" charset="0"/>
              </a:rPr>
              <a:t>$i</a:t>
            </a:r>
            <a:r>
              <a:rPr lang="nn-NO" sz="1800" dirty="0">
                <a:solidFill>
                  <a:prstClr val="black"/>
                </a:solidFill>
                <a:latin typeface="Lucida Console" panose="020B0609040504020204" pitchFamily="49" charset="0"/>
              </a:rPr>
              <a:t> </a:t>
            </a:r>
            <a:r>
              <a:rPr lang="nn-NO" sz="1800" dirty="0">
                <a:solidFill>
                  <a:srgbClr val="696969"/>
                </a:solidFill>
                <a:latin typeface="Lucida Console" panose="020B0609040504020204" pitchFamily="49" charset="0"/>
              </a:rPr>
              <a:t>=</a:t>
            </a:r>
            <a:r>
              <a:rPr lang="nn-NO" sz="1800" dirty="0">
                <a:solidFill>
                  <a:prstClr val="black"/>
                </a:solidFill>
                <a:latin typeface="Lucida Console" panose="020B0609040504020204" pitchFamily="49" charset="0"/>
              </a:rPr>
              <a:t> </a:t>
            </a:r>
            <a:r>
              <a:rPr lang="nn-NO" sz="1800" dirty="0">
                <a:solidFill>
                  <a:srgbClr val="800080"/>
                </a:solidFill>
                <a:latin typeface="Lucida Console" panose="020B0609040504020204" pitchFamily="49" charset="0"/>
              </a:rPr>
              <a:t>0</a:t>
            </a:r>
            <a:r>
              <a:rPr lang="nn-NO" sz="1800" dirty="0">
                <a:solidFill>
                  <a:prstClr val="black"/>
                </a:solidFill>
                <a:latin typeface="Lucida Console" panose="020B0609040504020204" pitchFamily="49" charset="0"/>
              </a:rPr>
              <a:t>; </a:t>
            </a:r>
            <a:r>
              <a:rPr lang="nn-NO" sz="1800" dirty="0">
                <a:solidFill>
                  <a:srgbClr val="A82D00"/>
                </a:solidFill>
                <a:latin typeface="Lucida Console" panose="020B0609040504020204" pitchFamily="49" charset="0"/>
              </a:rPr>
              <a:t>$i</a:t>
            </a:r>
            <a:r>
              <a:rPr lang="nn-NO" sz="1800" dirty="0">
                <a:solidFill>
                  <a:prstClr val="black"/>
                </a:solidFill>
                <a:latin typeface="Lucida Console" panose="020B0609040504020204" pitchFamily="49" charset="0"/>
              </a:rPr>
              <a:t> </a:t>
            </a:r>
            <a:r>
              <a:rPr lang="nn-NO" sz="1800" dirty="0">
                <a:solidFill>
                  <a:srgbClr val="696969"/>
                </a:solidFill>
                <a:latin typeface="Lucida Console" panose="020B0609040504020204" pitchFamily="49" charset="0"/>
              </a:rPr>
              <a:t>-lt</a:t>
            </a:r>
            <a:r>
              <a:rPr lang="nn-NO" sz="1800" dirty="0">
                <a:solidFill>
                  <a:prstClr val="black"/>
                </a:solidFill>
                <a:latin typeface="Lucida Console" panose="020B0609040504020204" pitchFamily="49" charset="0"/>
              </a:rPr>
              <a:t> </a:t>
            </a:r>
            <a:r>
              <a:rPr lang="nn-NO" sz="1800" dirty="0">
                <a:solidFill>
                  <a:srgbClr val="800080"/>
                </a:solidFill>
                <a:latin typeface="Lucida Console" panose="020B0609040504020204" pitchFamily="49" charset="0"/>
              </a:rPr>
              <a:t>5</a:t>
            </a:r>
            <a:r>
              <a:rPr lang="nn-NO" sz="1800" dirty="0">
                <a:solidFill>
                  <a:prstClr val="black"/>
                </a:solidFill>
                <a:latin typeface="Lucida Console" panose="020B0609040504020204" pitchFamily="49" charset="0"/>
              </a:rPr>
              <a:t>; </a:t>
            </a:r>
            <a:r>
              <a:rPr lang="nn-NO" sz="1800" dirty="0">
                <a:solidFill>
                  <a:srgbClr val="A82D00"/>
                </a:solidFill>
                <a:latin typeface="Lucida Console" panose="020B0609040504020204" pitchFamily="49" charset="0"/>
              </a:rPr>
              <a:t>$i</a:t>
            </a:r>
            <a:r>
              <a:rPr lang="nn-NO" sz="1800" dirty="0">
                <a:solidFill>
                  <a:srgbClr val="696969"/>
                </a:solidFill>
                <a:latin typeface="Lucida Console" panose="020B0609040504020204" pitchFamily="49" charset="0"/>
              </a:rPr>
              <a:t>++</a:t>
            </a:r>
            <a:r>
              <a:rPr lang="nn-NO"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Write-Host</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i</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a:p>
            <a:endParaRPr lang="en-US" sz="1800" dirty="0">
              <a:solidFill>
                <a:prstClr val="black"/>
              </a:solidFill>
              <a:latin typeface="Lucida Console" panose="020B0609040504020204" pitchFamily="49" charset="0"/>
            </a:endParaRPr>
          </a:p>
        </p:txBody>
      </p:sp>
      <p:sp>
        <p:nvSpPr>
          <p:cNvPr id="13" name="Rectangle 12">
            <a:extLst>
              <a:ext uri="{FF2B5EF4-FFF2-40B4-BE49-F238E27FC236}">
                <a16:creationId xmlns:a16="http://schemas.microsoft.com/office/drawing/2014/main" id="{AD5B4341-6BE6-4509-B063-E615CB83545B}"/>
              </a:ext>
            </a:extLst>
          </p:cNvPr>
          <p:cNvSpPr/>
          <p:nvPr/>
        </p:nvSpPr>
        <p:spPr>
          <a:xfrm>
            <a:off x="6234545" y="5299483"/>
            <a:ext cx="5836859" cy="1477328"/>
          </a:xfrm>
          <a:prstGeom prst="rect">
            <a:avLst/>
          </a:prstGeom>
          <a:solidFill>
            <a:schemeClr val="tx2">
              <a:lumMod val="20000"/>
              <a:lumOff val="80000"/>
            </a:schemeClr>
          </a:solidFill>
        </p:spPr>
        <p:txBody>
          <a:bodyPr wrap="square">
            <a:spAutoFit/>
          </a:bodyPr>
          <a:lstStyle/>
          <a:p>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nums</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1</a:t>
            </a:r>
            <a:r>
              <a:rPr lang="en-US" sz="1800" dirty="0">
                <a:solidFill>
                  <a:srgbClr val="696969"/>
                </a:solidFill>
                <a:latin typeface="Lucida Console" panose="020B0609040504020204" pitchFamily="49" charset="0"/>
              </a:rPr>
              <a:t>..</a:t>
            </a:r>
            <a:r>
              <a:rPr lang="en-US" sz="1800" dirty="0">
                <a:solidFill>
                  <a:srgbClr val="800080"/>
                </a:solidFill>
                <a:latin typeface="Lucida Console" panose="020B0609040504020204" pitchFamily="49" charset="0"/>
              </a:rPr>
              <a:t>5</a:t>
            </a:r>
            <a:endParaRPr lang="en-US" sz="1800" dirty="0">
              <a:solidFill>
                <a:prstClr val="black"/>
              </a:solidFill>
              <a:latin typeface="Lucida Console" panose="020B0609040504020204" pitchFamily="49" charset="0"/>
            </a:endParaRPr>
          </a:p>
          <a:p>
            <a:r>
              <a:rPr lang="en-US" sz="1800" dirty="0">
                <a:solidFill>
                  <a:srgbClr val="00008B"/>
                </a:solidFill>
                <a:latin typeface="Lucida Console" panose="020B0609040504020204" pitchFamily="49" charset="0"/>
              </a:rPr>
              <a:t>foreach</a:t>
            </a:r>
            <a:r>
              <a:rPr lang="en-US" sz="1800" dirty="0">
                <a:solidFill>
                  <a:prstClr val="black"/>
                </a:solidFill>
                <a:latin typeface="Lucida Console" panose="020B0609040504020204" pitchFamily="49" charset="0"/>
              </a:rPr>
              <a:t>(</a:t>
            </a:r>
            <a:r>
              <a:rPr lang="en-US" sz="1800" dirty="0">
                <a:solidFill>
                  <a:srgbClr val="A82D00"/>
                </a:solidFill>
                <a:latin typeface="Lucida Console" panose="020B0609040504020204" pitchFamily="49" charset="0"/>
              </a:rPr>
              <a:t>$num</a:t>
            </a:r>
            <a:r>
              <a:rPr lang="en-US" sz="1800" dirty="0">
                <a:solidFill>
                  <a:prstClr val="black"/>
                </a:solidFill>
                <a:latin typeface="Lucida Console" panose="020B0609040504020204" pitchFamily="49" charset="0"/>
              </a:rPr>
              <a:t> </a:t>
            </a:r>
            <a:r>
              <a:rPr lang="en-US" sz="1800" dirty="0">
                <a:solidFill>
                  <a:srgbClr val="00008B"/>
                </a:solidFill>
                <a:latin typeface="Lucida Console" panose="020B0609040504020204" pitchFamily="49" charset="0"/>
              </a:rPr>
              <a:t>in</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nums</a:t>
            </a:r>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0000FF"/>
                </a:solidFill>
                <a:latin typeface="Lucida Console" panose="020B0609040504020204" pitchFamily="49" charset="0"/>
              </a:rPr>
              <a:t>Write-Host</a:t>
            </a:r>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num</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p:txBody>
      </p:sp>
      <p:graphicFrame>
        <p:nvGraphicFramePr>
          <p:cNvPr id="10" name="Content Placeholder 5">
            <a:extLst>
              <a:ext uri="{FF2B5EF4-FFF2-40B4-BE49-F238E27FC236}">
                <a16:creationId xmlns:a16="http://schemas.microsoft.com/office/drawing/2014/main" id="{1E2C5AE9-E7F4-400A-BDBD-94A2DC7F5D9E}"/>
              </a:ext>
            </a:extLst>
          </p:cNvPr>
          <p:cNvGraphicFramePr>
            <a:graphicFrameLocks/>
          </p:cNvGraphicFramePr>
          <p:nvPr>
            <p:extLst>
              <p:ext uri="{D42A27DB-BD31-4B8C-83A1-F6EECF244321}">
                <p14:modId xmlns:p14="http://schemas.microsoft.com/office/powerpoint/2010/main" val="2545121540"/>
              </p:ext>
            </p:extLst>
          </p:nvPr>
        </p:nvGraphicFramePr>
        <p:xfrm>
          <a:off x="120595" y="3870042"/>
          <a:ext cx="11950809" cy="165350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2305500538"/>
      </p:ext>
    </p:extLst>
  </p:cSld>
  <p:clrMapOvr>
    <a:masterClrMapping/>
  </p:clrMapOvr>
  <p:transition spd="slow"/>
</p:sld>
</file>

<file path=ppt/slides/slide14.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ow Control - Decisions</a:t>
            </a:r>
          </a:p>
        </p:txBody>
      </p:sp>
      <p:graphicFrame>
        <p:nvGraphicFramePr>
          <p:cNvPr id="8" name="Content Placeholder 5">
            <a:extLst>
              <a:ext uri="{FF2B5EF4-FFF2-40B4-BE49-F238E27FC236}">
                <a16:creationId xmlns:a16="http://schemas.microsoft.com/office/drawing/2014/main" id="{4A1231B7-B8AA-4DB9-A916-3D1B723114DD}"/>
              </a:ext>
            </a:extLst>
          </p:cNvPr>
          <p:cNvGraphicFramePr>
            <a:graphicFrameLocks/>
          </p:cNvGraphicFramePr>
          <p:nvPr>
            <p:extLst>
              <p:ext uri="{D42A27DB-BD31-4B8C-83A1-F6EECF244321}">
                <p14:modId xmlns:p14="http://schemas.microsoft.com/office/powerpoint/2010/main" val="3247828026"/>
              </p:ext>
            </p:extLst>
          </p:nvPr>
        </p:nvGraphicFramePr>
        <p:xfrm>
          <a:off x="416830" y="781705"/>
          <a:ext cx="4686793" cy="207484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Rectangle 8">
            <a:extLst>
              <a:ext uri="{FF2B5EF4-FFF2-40B4-BE49-F238E27FC236}">
                <a16:creationId xmlns:a16="http://schemas.microsoft.com/office/drawing/2014/main" id="{5E803682-CFA4-4CCC-882B-19C35785BB9E}"/>
              </a:ext>
            </a:extLst>
          </p:cNvPr>
          <p:cNvSpPr/>
          <p:nvPr/>
        </p:nvSpPr>
        <p:spPr>
          <a:xfrm>
            <a:off x="416829" y="2483030"/>
            <a:ext cx="5200441" cy="3416320"/>
          </a:xfrm>
          <a:prstGeom prst="rect">
            <a:avLst/>
          </a:prstGeom>
          <a:solidFill>
            <a:schemeClr val="tx2">
              <a:lumMod val="20000"/>
              <a:lumOff val="80000"/>
            </a:schemeClr>
          </a:solidFill>
        </p:spPr>
        <p:txBody>
          <a:bodyPr wrap="square">
            <a:spAutoFit/>
          </a:bodyPr>
          <a:lstStyle/>
          <a:p>
            <a:r>
              <a:rPr lang="en-US" sz="1800" dirty="0"/>
              <a:t> </a:t>
            </a:r>
            <a:r>
              <a:rPr lang="en-US" sz="1800" dirty="0">
                <a:solidFill>
                  <a:srgbClr val="00008B"/>
                </a:solidFill>
                <a:latin typeface="Lucida Console" panose="020B0609040504020204" pitchFamily="49" charset="0"/>
              </a:rPr>
              <a:t>if</a:t>
            </a:r>
            <a:r>
              <a:rPr lang="en-US" sz="1800" dirty="0">
                <a:solidFill>
                  <a:prstClr val="black"/>
                </a:solidFill>
                <a:latin typeface="Lucida Console" panose="020B0609040504020204" pitchFamily="49" charset="0"/>
              </a:rPr>
              <a:t>(</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a:t>
            </a:r>
            <a:r>
              <a:rPr lang="en-US" sz="1800" dirty="0" err="1">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StartType</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eq</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Manual"</a:t>
            </a:r>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a:t>
            </a:r>
            <a:r>
              <a:rPr lang="en-US" sz="1800" dirty="0">
                <a:solidFill>
                  <a:prstClr val="black"/>
                </a:solidFill>
                <a:latin typeface="Lucida Console" panose="020B0609040504020204" pitchFamily="49" charset="0"/>
              </a:rPr>
              <a:t>$(</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a:t>
            </a:r>
            <a:r>
              <a:rPr lang="en-US" sz="1800" dirty="0" err="1">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Name</a:t>
            </a:r>
            <a:r>
              <a:rPr lang="en-US" sz="1800" dirty="0">
                <a:solidFill>
                  <a:prstClr val="black"/>
                </a:solidFill>
                <a:latin typeface="Lucida Console" panose="020B0609040504020204" pitchFamily="49" charset="0"/>
              </a:rPr>
              <a:t>)</a:t>
            </a:r>
            <a:r>
              <a:rPr lang="en-US" sz="1800" dirty="0">
                <a:solidFill>
                  <a:srgbClr val="8B0000"/>
                </a:solidFill>
                <a:latin typeface="Lucida Console" panose="020B0609040504020204" pitchFamily="49" charset="0"/>
              </a:rPr>
              <a:t> is Manual"</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r>
              <a:rPr lang="en-US" sz="1800" dirty="0">
                <a:solidFill>
                  <a:srgbClr val="00008B"/>
                </a:solidFill>
                <a:latin typeface="Lucida Console" panose="020B0609040504020204" pitchFamily="49" charset="0"/>
              </a:rPr>
              <a:t>elseif</a:t>
            </a:r>
            <a:r>
              <a:rPr lang="en-US" sz="1800" dirty="0">
                <a:solidFill>
                  <a:prstClr val="black"/>
                </a:solidFill>
                <a:latin typeface="Lucida Console" panose="020B0609040504020204" pitchFamily="49" charset="0"/>
              </a:rPr>
              <a:t>(</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a:t>
            </a:r>
            <a:r>
              <a:rPr lang="en-US" sz="1800" dirty="0" err="1">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StartType</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eq</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Automatic"</a:t>
            </a:r>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a:t>
            </a:r>
            <a:r>
              <a:rPr lang="en-US" sz="1800" dirty="0">
                <a:solidFill>
                  <a:prstClr val="black"/>
                </a:solidFill>
                <a:latin typeface="Lucida Console" panose="020B0609040504020204" pitchFamily="49" charset="0"/>
              </a:rPr>
              <a:t>$(</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a:t>
            </a:r>
            <a:r>
              <a:rPr lang="en-US" sz="1800" dirty="0" err="1">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Name</a:t>
            </a:r>
            <a:r>
              <a:rPr lang="en-US" sz="1800" dirty="0">
                <a:solidFill>
                  <a:prstClr val="black"/>
                </a:solidFill>
                <a:latin typeface="Lucida Console" panose="020B0609040504020204" pitchFamily="49" charset="0"/>
              </a:rPr>
              <a:t>)</a:t>
            </a:r>
            <a:r>
              <a:rPr lang="en-US" sz="1800" dirty="0">
                <a:solidFill>
                  <a:srgbClr val="8B0000"/>
                </a:solidFill>
                <a:latin typeface="Lucida Console" panose="020B0609040504020204" pitchFamily="49" charset="0"/>
              </a:rPr>
              <a:t> is Automatic"</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r>
              <a:rPr lang="en-US" sz="1800" dirty="0">
                <a:solidFill>
                  <a:srgbClr val="00008B"/>
                </a:solidFill>
                <a:latin typeface="Lucida Console" panose="020B0609040504020204" pitchFamily="49" charset="0"/>
              </a:rPr>
              <a:t>els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a:t>
            </a:r>
            <a:r>
              <a:rPr lang="en-US" sz="1800" dirty="0">
                <a:solidFill>
                  <a:prstClr val="black"/>
                </a:solidFill>
                <a:latin typeface="Lucida Console" panose="020B0609040504020204" pitchFamily="49" charset="0"/>
              </a:rPr>
              <a:t>$(</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S</a:t>
            </a:r>
            <a:r>
              <a:rPr lang="en-US" sz="1800" dirty="0" err="1">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Name</a:t>
            </a:r>
            <a:r>
              <a:rPr lang="en-US" sz="1800" dirty="0">
                <a:solidFill>
                  <a:prstClr val="black"/>
                </a:solidFill>
                <a:latin typeface="Lucida Console" panose="020B0609040504020204" pitchFamily="49" charset="0"/>
              </a:rPr>
              <a:t>)</a:t>
            </a:r>
            <a:r>
              <a:rPr lang="en-US" sz="1800" dirty="0">
                <a:solidFill>
                  <a:srgbClr val="8B0000"/>
                </a:solidFill>
                <a:latin typeface="Lucida Console" panose="020B0609040504020204" pitchFamily="49" charset="0"/>
              </a:rPr>
              <a:t> is Disabled"</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p:txBody>
      </p:sp>
      <p:sp>
        <p:nvSpPr>
          <p:cNvPr id="11" name="Rectangle 10">
            <a:extLst>
              <a:ext uri="{FF2B5EF4-FFF2-40B4-BE49-F238E27FC236}">
                <a16:creationId xmlns:a16="http://schemas.microsoft.com/office/drawing/2014/main" id="{2E041047-D57F-4385-8F73-76764617566B}"/>
              </a:ext>
            </a:extLst>
          </p:cNvPr>
          <p:cNvSpPr/>
          <p:nvPr/>
        </p:nvSpPr>
        <p:spPr>
          <a:xfrm>
            <a:off x="6177654" y="3022702"/>
            <a:ext cx="5187739" cy="2308324"/>
          </a:xfrm>
          <a:prstGeom prst="rect">
            <a:avLst/>
          </a:prstGeom>
          <a:solidFill>
            <a:schemeClr val="tx2">
              <a:lumMod val="20000"/>
              <a:lumOff val="80000"/>
            </a:schemeClr>
          </a:solidFill>
          <a:ln>
            <a:solidFill>
              <a:schemeClr val="tx1"/>
            </a:solidFill>
          </a:ln>
        </p:spPr>
        <p:txBody>
          <a:bodyPr wrap="square">
            <a:spAutoFit/>
          </a:bodyPr>
          <a:lstStyle/>
          <a:p>
            <a:r>
              <a:rPr lang="en-US" sz="1800" dirty="0">
                <a:solidFill>
                  <a:srgbClr val="00008B"/>
                </a:solidFill>
                <a:latin typeface="Lucida Console" panose="020B0609040504020204" pitchFamily="49" charset="0"/>
              </a:rPr>
              <a:t>Switch</a:t>
            </a:r>
            <a:r>
              <a:rPr lang="en-US" sz="1800" dirty="0">
                <a:solidFill>
                  <a:prstClr val="black"/>
                </a:solidFill>
                <a:latin typeface="Lucida Console" panose="020B0609040504020204" pitchFamily="49" charset="0"/>
              </a:rPr>
              <a:t>(</a:t>
            </a:r>
            <a:r>
              <a:rPr lang="en-US" sz="1800" dirty="0">
                <a:solidFill>
                  <a:srgbClr val="A82D00"/>
                </a:solidFill>
                <a:latin typeface="Lucida Console" panose="020B0609040504020204" pitchFamily="49" charset="0"/>
              </a:rPr>
              <a:t>$s</a:t>
            </a:r>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_</a:t>
            </a:r>
            <a:r>
              <a:rPr lang="en-US" sz="1800" dirty="0">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starttype</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eq</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Manual"</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a:t>
            </a:r>
            <a:r>
              <a:rPr lang="en-US" sz="1800" dirty="0">
                <a:solidFill>
                  <a:prstClr val="black"/>
                </a:solidFill>
                <a:latin typeface="Lucida Console" panose="020B0609040504020204" pitchFamily="49" charset="0"/>
              </a:rPr>
              <a:t>$(</a:t>
            </a:r>
            <a:r>
              <a:rPr lang="en-US" sz="1800" dirty="0">
                <a:solidFill>
                  <a:srgbClr val="A82D00"/>
                </a:solidFill>
                <a:latin typeface="Lucida Console" panose="020B0609040504020204" pitchFamily="49" charset="0"/>
              </a:rPr>
              <a:t>$_</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Name)</a:t>
            </a:r>
            <a:r>
              <a:rPr lang="en-US" sz="1800" dirty="0">
                <a:solidFill>
                  <a:srgbClr val="8B0000"/>
                </a:solidFill>
                <a:latin typeface="Lucida Console" panose="020B0609040504020204" pitchFamily="49" charset="0"/>
              </a:rPr>
              <a:t> is Manual"</a:t>
            </a:r>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A82D00"/>
                </a:solidFill>
                <a:latin typeface="Lucida Console" panose="020B0609040504020204" pitchFamily="49" charset="0"/>
              </a:rPr>
              <a:t>$_</a:t>
            </a:r>
            <a:r>
              <a:rPr lang="en-US" sz="1800" dirty="0">
                <a:solidFill>
                  <a:srgbClr val="696969"/>
                </a:solidFill>
                <a:latin typeface="Lucida Console" panose="020B0609040504020204" pitchFamily="49" charset="0"/>
              </a:rPr>
              <a:t>.</a:t>
            </a:r>
            <a:r>
              <a:rPr lang="en-US" sz="1800" dirty="0" err="1">
                <a:solidFill>
                  <a:prstClr val="black"/>
                </a:solidFill>
                <a:latin typeface="Lucida Console" panose="020B0609040504020204" pitchFamily="49" charset="0"/>
              </a:rPr>
              <a:t>starttype</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eq</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Automatic"</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a:t>
            </a:r>
            <a:r>
              <a:rPr lang="en-US" sz="1800" dirty="0">
                <a:solidFill>
                  <a:prstClr val="black"/>
                </a:solidFill>
                <a:latin typeface="Lucida Console" panose="020B0609040504020204" pitchFamily="49" charset="0"/>
              </a:rPr>
              <a:t>$(</a:t>
            </a:r>
            <a:r>
              <a:rPr lang="en-US" sz="1800" dirty="0">
                <a:solidFill>
                  <a:srgbClr val="A82D00"/>
                </a:solidFill>
                <a:latin typeface="Lucida Console" panose="020B0609040504020204" pitchFamily="49" charset="0"/>
              </a:rPr>
              <a:t>$_</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Name)</a:t>
            </a:r>
            <a:r>
              <a:rPr lang="en-US" sz="1800" dirty="0">
                <a:solidFill>
                  <a:srgbClr val="8B0000"/>
                </a:solidFill>
                <a:latin typeface="Lucida Console" panose="020B0609040504020204" pitchFamily="49" charset="0"/>
              </a:rPr>
              <a:t> is Automatic"</a:t>
            </a:r>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r>
              <a:rPr lang="en-US" sz="1800" dirty="0">
                <a:solidFill>
                  <a:srgbClr val="8A2BE2"/>
                </a:solidFill>
                <a:latin typeface="Lucida Console" panose="020B0609040504020204" pitchFamily="49" charset="0"/>
              </a:rPr>
              <a:t>default</a:t>
            </a:r>
            <a:r>
              <a:rPr lang="en-US" sz="1800" dirty="0">
                <a:solidFill>
                  <a:prstClr val="black"/>
                </a:solidFill>
                <a:latin typeface="Lucida Console" panose="020B0609040504020204" pitchFamily="49" charset="0"/>
              </a:rPr>
              <a:t>{</a:t>
            </a:r>
            <a:r>
              <a:rPr lang="en-US" sz="1800" dirty="0">
                <a:solidFill>
                  <a:srgbClr val="8B0000"/>
                </a:solidFill>
                <a:latin typeface="Lucida Console" panose="020B0609040504020204" pitchFamily="49" charset="0"/>
              </a:rPr>
              <a:t>"</a:t>
            </a:r>
            <a:r>
              <a:rPr lang="en-US" sz="1800" dirty="0">
                <a:solidFill>
                  <a:prstClr val="black"/>
                </a:solidFill>
                <a:latin typeface="Lucida Console" panose="020B0609040504020204" pitchFamily="49" charset="0"/>
              </a:rPr>
              <a:t>$(</a:t>
            </a:r>
            <a:r>
              <a:rPr lang="en-US" sz="1800" dirty="0">
                <a:solidFill>
                  <a:srgbClr val="A82D00"/>
                </a:solidFill>
                <a:latin typeface="Lucida Console" panose="020B0609040504020204" pitchFamily="49" charset="0"/>
              </a:rPr>
              <a:t>$_</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Name)</a:t>
            </a:r>
            <a:r>
              <a:rPr lang="en-US" sz="1800" dirty="0">
                <a:solidFill>
                  <a:srgbClr val="8B0000"/>
                </a:solidFill>
                <a:latin typeface="Lucida Console" panose="020B0609040504020204" pitchFamily="49" charset="0"/>
              </a:rPr>
              <a:t> is disabled"</a:t>
            </a:r>
            <a:r>
              <a:rPr lang="en-US" sz="1800" dirty="0">
                <a:solidFill>
                  <a:prstClr val="black"/>
                </a:solidFill>
                <a:latin typeface="Lucida Console" panose="020B0609040504020204" pitchFamily="49" charset="0"/>
              </a:rPr>
              <a:t>}</a:t>
            </a:r>
          </a:p>
          <a:p>
            <a:r>
              <a:rPr lang="en-US" sz="1800" dirty="0">
                <a:solidFill>
                  <a:prstClr val="black"/>
                </a:solidFill>
                <a:latin typeface="Lucida Console" panose="020B0609040504020204" pitchFamily="49" charset="0"/>
              </a:rPr>
              <a:t>}  </a:t>
            </a:r>
          </a:p>
        </p:txBody>
      </p:sp>
      <p:graphicFrame>
        <p:nvGraphicFramePr>
          <p:cNvPr id="12" name="Content Placeholder 5">
            <a:extLst>
              <a:ext uri="{FF2B5EF4-FFF2-40B4-BE49-F238E27FC236}">
                <a16:creationId xmlns:a16="http://schemas.microsoft.com/office/drawing/2014/main" id="{5AB4DE08-BE59-427C-A5CA-D7EE55A0F398}"/>
              </a:ext>
            </a:extLst>
          </p:cNvPr>
          <p:cNvGraphicFramePr>
            <a:graphicFrameLocks/>
          </p:cNvGraphicFramePr>
          <p:nvPr>
            <p:extLst>
              <p:ext uri="{D42A27DB-BD31-4B8C-83A1-F6EECF244321}">
                <p14:modId xmlns:p14="http://schemas.microsoft.com/office/powerpoint/2010/main" val="3647460009"/>
              </p:ext>
            </p:extLst>
          </p:nvPr>
        </p:nvGraphicFramePr>
        <p:xfrm>
          <a:off x="5804065" y="879295"/>
          <a:ext cx="6257840" cy="2992314"/>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3313010212"/>
      </p:ext>
    </p:extLst>
  </p:cSld>
  <p:clrMapOvr>
    <a:masterClrMapping/>
  </p:clrMapOvr>
  <p:transition spd="slow"/>
</p:sld>
</file>

<file path=ppt/slides/slide15.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ow Control - Keywords</a:t>
            </a:r>
          </a:p>
        </p:txBody>
      </p:sp>
      <p:graphicFrame>
        <p:nvGraphicFramePr>
          <p:cNvPr id="10" name="Diagram 9">
            <a:extLst>
              <a:ext uri="{FF2B5EF4-FFF2-40B4-BE49-F238E27FC236}">
                <a16:creationId xmlns:a16="http://schemas.microsoft.com/office/drawing/2014/main" id="{48CC42C8-4932-461D-9FE7-0529D9D3EFBA}"/>
              </a:ext>
            </a:extLst>
          </p:cNvPr>
          <p:cNvGraphicFramePr/>
          <p:nvPr>
            <p:extLst>
              <p:ext uri="{D42A27DB-BD31-4B8C-83A1-F6EECF244321}">
                <p14:modId xmlns:p14="http://schemas.microsoft.com/office/powerpoint/2010/main" val="3422618062"/>
              </p:ext>
            </p:extLst>
          </p:nvPr>
        </p:nvGraphicFramePr>
        <p:xfrm>
          <a:off x="655639" y="1184564"/>
          <a:ext cx="11415766" cy="554621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662554364"/>
      </p:ext>
    </p:extLst>
  </p:cSld>
  <p:clrMapOvr>
    <a:masterClrMapping/>
  </p:clrMapOvr>
  <p:transition spd="slow"/>
</p:sld>
</file>

<file path=ppt/slides/slide16.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DD2FF-31D2-43D0-AB65-17D79E373EC4}"/>
              </a:ext>
            </a:extLst>
          </p:cNvPr>
          <p:cNvSpPr>
            <a:spLocks noGrp="1"/>
          </p:cNvSpPr>
          <p:nvPr>
            <p:ph type="title"/>
          </p:nvPr>
        </p:nvSpPr>
        <p:spPr/>
        <p:txBody>
          <a:bodyPr/>
          <a:lstStyle/>
          <a:p>
            <a:r>
              <a:rPr lang="en-US" dirty="0"/>
              <a:t>Hash Tables</a:t>
            </a:r>
          </a:p>
        </p:txBody>
      </p:sp>
      <p:graphicFrame>
        <p:nvGraphicFramePr>
          <p:cNvPr id="9" name="Content Placeholder 8">
            <a:extLst>
              <a:ext uri="{FF2B5EF4-FFF2-40B4-BE49-F238E27FC236}">
                <a16:creationId xmlns:a16="http://schemas.microsoft.com/office/drawing/2014/main" id="{4409AFB9-A3BF-4E0E-B9AB-3AE9A78DD9B7}"/>
              </a:ext>
            </a:extLst>
          </p:cNvPr>
          <p:cNvGraphicFramePr>
            <a:graphicFrameLocks noGrp="1"/>
          </p:cNvGraphicFramePr>
          <p:nvPr>
            <p:ph sz="quarter" idx="13"/>
            <p:extLst>
              <p:ext uri="{D42A27DB-BD31-4B8C-83A1-F6EECF244321}">
                <p14:modId xmlns:p14="http://schemas.microsoft.com/office/powerpoint/2010/main" val="1039509675"/>
              </p:ext>
            </p:extLst>
          </p:nvPr>
        </p:nvGraphicFramePr>
        <p:xfrm>
          <a:off x="655638" y="882595"/>
          <a:ext cx="10880726" cy="263983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 name="Code Box">
            <a:extLst>
              <a:ext uri="{FF2B5EF4-FFF2-40B4-BE49-F238E27FC236}">
                <a16:creationId xmlns:a16="http://schemas.microsoft.com/office/drawing/2014/main" id="{EE68F474-24AB-464D-9F65-15D5C45E173F}"/>
              </a:ext>
            </a:extLst>
          </p:cNvPr>
          <p:cNvSpPr/>
          <p:nvPr>
            <p:custDataLst>
              <p:tags r:id="rId2"/>
            </p:custDataLst>
          </p:nvPr>
        </p:nvSpPr>
        <p:spPr>
          <a:xfrm>
            <a:off x="655636" y="5099247"/>
            <a:ext cx="4131049" cy="1607778"/>
          </a:xfrm>
          <a:prstGeom prst="rect">
            <a:avLst/>
          </a:prstGeom>
          <a:solidFill>
            <a:srgbClr val="012456"/>
          </a:solidFill>
        </p:spPr>
        <p:txBody>
          <a:bodyPr wrap="square">
            <a:noAutofit/>
          </a:bodyPr>
          <a:lstStyle/>
          <a:p>
            <a:r>
              <a:rPr lang="en-US" sz="1800" dirty="0">
                <a:solidFill>
                  <a:srgbClr val="F5F5F5"/>
                </a:solidFill>
                <a:latin typeface="Lucida Console" panose="020B0609040504020204" pitchFamily="49" charset="0"/>
              </a:rPr>
              <a:t>PS&gt; </a:t>
            </a: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MyShape</a:t>
            </a:r>
            <a:r>
              <a:rPr lang="en-US" sz="1800" dirty="0">
                <a:solidFill>
                  <a:srgbClr val="D3D3D3"/>
                </a:solidFill>
                <a:latin typeface="Lucida Console" panose="020B0609040504020204" pitchFamily="49" charset="0"/>
              </a:rPr>
              <a:t>[</a:t>
            </a:r>
            <a:r>
              <a:rPr lang="en-US" sz="1800" dirty="0">
                <a:solidFill>
                  <a:srgbClr val="DB7093"/>
                </a:solidFill>
                <a:latin typeface="Lucida Console" panose="020B0609040504020204" pitchFamily="49" charset="0"/>
              </a:rPr>
              <a:t>"Shape"</a:t>
            </a:r>
            <a:r>
              <a:rPr lang="en-US" sz="1800" dirty="0">
                <a:solidFill>
                  <a:srgbClr val="D3D3D3"/>
                </a:solidFill>
                <a:latin typeface="Lucida Console" panose="020B0609040504020204" pitchFamily="49" charset="0"/>
              </a:rPr>
              <a:t>] </a:t>
            </a:r>
            <a:endParaRPr lang="en-US" sz="1800" dirty="0">
              <a:solidFill>
                <a:srgbClr val="696969"/>
              </a:solidFill>
              <a:latin typeface="Lucida Console" panose="020B0609040504020204" pitchFamily="49" charset="0"/>
            </a:endParaRPr>
          </a:p>
          <a:p>
            <a:r>
              <a:rPr lang="en-US" sz="1800" dirty="0">
                <a:solidFill>
                  <a:srgbClr val="F5F5F5"/>
                </a:solidFill>
                <a:latin typeface="Lucida Console" panose="020B0609040504020204" pitchFamily="49" charset="0"/>
              </a:rPr>
              <a:t>Square</a:t>
            </a:r>
          </a:p>
          <a:p>
            <a:endParaRPr lang="en-US" sz="1800" dirty="0">
              <a:solidFill>
                <a:srgbClr val="F5F5F5"/>
              </a:solidFill>
              <a:latin typeface="Lucida Console" panose="020B0609040504020204" pitchFamily="49" charset="0"/>
            </a:endParaRPr>
          </a:p>
          <a:p>
            <a:r>
              <a:rPr lang="en-US" sz="1800" dirty="0">
                <a:solidFill>
                  <a:srgbClr val="F5F5F5"/>
                </a:solidFill>
                <a:latin typeface="Lucida Console" panose="020B0609040504020204" pitchFamily="49" charset="0"/>
              </a:rPr>
              <a:t>PS&gt; </a:t>
            </a: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MyShape</a:t>
            </a:r>
            <a:r>
              <a:rPr lang="en-US" sz="1800" dirty="0" err="1">
                <a:solidFill>
                  <a:srgbClr val="D3D3D3"/>
                </a:solidFill>
                <a:latin typeface="Lucida Console" panose="020B0609040504020204" pitchFamily="49" charset="0"/>
              </a:rPr>
              <a:t>.</a:t>
            </a:r>
            <a:r>
              <a:rPr lang="en-US" sz="1800" dirty="0" err="1">
                <a:solidFill>
                  <a:srgbClr val="F5F5F5"/>
                </a:solidFill>
                <a:latin typeface="Lucida Console" panose="020B0609040504020204" pitchFamily="49" charset="0"/>
              </a:rPr>
              <a:t>Shape</a:t>
            </a:r>
            <a:r>
              <a:rPr lang="en-US" sz="1800" dirty="0">
                <a:solidFill>
                  <a:srgbClr val="F5F5F5"/>
                </a:solidFill>
                <a:latin typeface="Lucida Console" panose="020B0609040504020204" pitchFamily="49" charset="0"/>
              </a:rPr>
              <a:t> </a:t>
            </a:r>
          </a:p>
          <a:p>
            <a:r>
              <a:rPr lang="en-US" sz="1800" dirty="0">
                <a:solidFill>
                  <a:srgbClr val="F5F5F5"/>
                </a:solidFill>
                <a:latin typeface="Lucida Console" panose="020B0609040504020204" pitchFamily="49" charset="0"/>
              </a:rPr>
              <a:t>Square</a:t>
            </a:r>
          </a:p>
        </p:txBody>
      </p:sp>
      <p:sp>
        <p:nvSpPr>
          <p:cNvPr id="3" name="Rectangle 2">
            <a:extLst>
              <a:ext uri="{FF2B5EF4-FFF2-40B4-BE49-F238E27FC236}">
                <a16:creationId xmlns:a16="http://schemas.microsoft.com/office/drawing/2014/main" id="{259DB12A-1F55-4CAF-B279-5290E3DC2D05}"/>
              </a:ext>
            </a:extLst>
          </p:cNvPr>
          <p:cNvSpPr/>
          <p:nvPr/>
        </p:nvSpPr>
        <p:spPr>
          <a:xfrm>
            <a:off x="655636" y="3639437"/>
            <a:ext cx="4131049" cy="1477328"/>
          </a:xfrm>
          <a:prstGeom prst="rect">
            <a:avLst/>
          </a:prstGeom>
          <a:solidFill>
            <a:schemeClr val="tx2">
              <a:lumMod val="20000"/>
              <a:lumOff val="80000"/>
            </a:schemeClr>
          </a:solidFill>
        </p:spPr>
        <p:txBody>
          <a:bodyPr wrap="square">
            <a:spAutoFit/>
          </a:bodyPr>
          <a:lstStyle/>
          <a:p>
            <a:r>
              <a:rPr lang="en-US" sz="1800" dirty="0"/>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MyShape</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 </a:t>
            </a:r>
          </a:p>
          <a:p>
            <a:r>
              <a:rPr lang="en-US" sz="1800" dirty="0">
                <a:solidFill>
                  <a:prstClr val="black"/>
                </a:solidFill>
                <a:latin typeface="Lucida Console" panose="020B0609040504020204" pitchFamily="49" charset="0"/>
              </a:rPr>
              <a:t>    Number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1</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Shape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Squar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Color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Blu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p:txBody>
      </p:sp>
      <p:sp>
        <p:nvSpPr>
          <p:cNvPr id="8" name="Code Box">
            <a:extLst>
              <a:ext uri="{FF2B5EF4-FFF2-40B4-BE49-F238E27FC236}">
                <a16:creationId xmlns:a16="http://schemas.microsoft.com/office/drawing/2014/main" id="{F37D51AB-63E7-4465-B014-C35A195CB46D}"/>
              </a:ext>
            </a:extLst>
          </p:cNvPr>
          <p:cNvSpPr/>
          <p:nvPr>
            <p:custDataLst>
              <p:tags r:id="rId3"/>
            </p:custDataLst>
          </p:nvPr>
        </p:nvSpPr>
        <p:spPr>
          <a:xfrm>
            <a:off x="5832627" y="3623318"/>
            <a:ext cx="5703736" cy="3067588"/>
          </a:xfrm>
          <a:prstGeom prst="rect">
            <a:avLst/>
          </a:prstGeom>
          <a:solidFill>
            <a:srgbClr val="012456"/>
          </a:solidFill>
        </p:spPr>
        <p:txBody>
          <a:bodyPr wrap="square">
            <a:noAutofit/>
          </a:bodyPr>
          <a:lstStyle/>
          <a:p>
            <a:r>
              <a:rPr lang="en-US" sz="1800" dirty="0">
                <a:solidFill>
                  <a:srgbClr val="F5F5F5"/>
                </a:solidFill>
                <a:latin typeface="Lucida Console" panose="020B0609040504020204" pitchFamily="49" charset="0"/>
              </a:rPr>
              <a:t>PS&gt; </a:t>
            </a: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MyShape</a:t>
            </a:r>
            <a:r>
              <a:rPr lang="en-US" sz="1800" dirty="0">
                <a:solidFill>
                  <a:srgbClr val="D3D3D3"/>
                </a:solidFill>
                <a:latin typeface="Lucida Console" panose="020B0609040504020204" pitchFamily="49" charset="0"/>
              </a:rPr>
              <a:t>[</a:t>
            </a:r>
            <a:r>
              <a:rPr lang="en-US" sz="1800" dirty="0">
                <a:solidFill>
                  <a:srgbClr val="DB7093"/>
                </a:solidFill>
                <a:latin typeface="Lucida Console" panose="020B0609040504020204" pitchFamily="49" charset="0"/>
              </a:rPr>
              <a:t>"</a:t>
            </a:r>
            <a:r>
              <a:rPr lang="en-US" sz="1800" dirty="0" err="1">
                <a:solidFill>
                  <a:srgbClr val="DB7093"/>
                </a:solidFill>
                <a:latin typeface="Lucida Console" panose="020B0609040504020204" pitchFamily="49" charset="0"/>
              </a:rPr>
              <a:t>newKey</a:t>
            </a:r>
            <a:r>
              <a:rPr lang="en-US" sz="1800" dirty="0">
                <a:solidFill>
                  <a:srgbClr val="DB7093"/>
                </a:solidFill>
                <a:latin typeface="Lucida Console" panose="020B0609040504020204" pitchFamily="49" charset="0"/>
              </a:rPr>
              <a:t>"</a:t>
            </a:r>
            <a:r>
              <a:rPr lang="en-US" sz="1800" dirty="0">
                <a:solidFill>
                  <a:srgbClr val="D3D3D3"/>
                </a:solidFill>
                <a:latin typeface="Lucida Console" panose="020B0609040504020204" pitchFamily="49" charset="0"/>
              </a:rPr>
              <a:t>]</a:t>
            </a:r>
            <a:r>
              <a:rPr lang="en-US" sz="1800" dirty="0">
                <a:solidFill>
                  <a:srgbClr val="F5F5F5"/>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srgbClr val="F5F5F5"/>
                </a:solidFill>
                <a:latin typeface="Lucida Console" panose="020B0609040504020204" pitchFamily="49" charset="0"/>
              </a:rPr>
              <a:t> </a:t>
            </a:r>
            <a:r>
              <a:rPr lang="en-US" sz="1800" dirty="0">
                <a:solidFill>
                  <a:srgbClr val="FFE4C4"/>
                </a:solidFill>
                <a:latin typeface="Lucida Console" panose="020B0609040504020204" pitchFamily="49" charset="0"/>
              </a:rPr>
              <a:t>5 </a:t>
            </a:r>
          </a:p>
          <a:p>
            <a:r>
              <a:rPr lang="en-US" sz="1800" dirty="0">
                <a:solidFill>
                  <a:srgbClr val="F5F5F5"/>
                </a:solidFill>
                <a:latin typeface="Lucida Console" panose="020B0609040504020204" pitchFamily="49" charset="0"/>
              </a:rPr>
              <a:t>PS&gt; </a:t>
            </a: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MyShape</a:t>
            </a:r>
            <a:endParaRPr lang="en-US" sz="1800" dirty="0">
              <a:solidFill>
                <a:srgbClr val="F5F5F5"/>
              </a:solidFill>
              <a:latin typeface="Lucida Console" panose="020B0609040504020204" pitchFamily="49" charset="0"/>
            </a:endParaRPr>
          </a:p>
          <a:p>
            <a:r>
              <a:rPr lang="en-US" sz="1800" dirty="0">
                <a:solidFill>
                  <a:srgbClr val="F5F5F5"/>
                </a:solidFill>
                <a:latin typeface="Lucida Console" panose="020B0609040504020204" pitchFamily="49" charset="0"/>
              </a:rPr>
              <a:t>Name                           Value                                                                  </a:t>
            </a:r>
          </a:p>
          <a:p>
            <a:r>
              <a:rPr lang="en-US" sz="1800" dirty="0">
                <a:solidFill>
                  <a:srgbClr val="F5F5F5"/>
                </a:solidFill>
                <a:latin typeface="Lucida Console" panose="020B0609040504020204" pitchFamily="49" charset="0"/>
              </a:rPr>
              <a:t>----                           -----                                                                  </a:t>
            </a:r>
          </a:p>
          <a:p>
            <a:r>
              <a:rPr lang="en-US" sz="1800" dirty="0">
                <a:solidFill>
                  <a:srgbClr val="F5F5F5"/>
                </a:solidFill>
                <a:latin typeface="Lucida Console" panose="020B0609040504020204" pitchFamily="49" charset="0"/>
              </a:rPr>
              <a:t>Color                          Blue                                                                   </a:t>
            </a:r>
          </a:p>
          <a:p>
            <a:r>
              <a:rPr lang="en-US" sz="1800" dirty="0">
                <a:solidFill>
                  <a:srgbClr val="F5F5F5"/>
                </a:solidFill>
                <a:latin typeface="Lucida Console" panose="020B0609040504020204" pitchFamily="49" charset="0"/>
              </a:rPr>
              <a:t>Number                         1                                                                      </a:t>
            </a:r>
          </a:p>
          <a:p>
            <a:r>
              <a:rPr lang="en-US" sz="1800" dirty="0" err="1">
                <a:solidFill>
                  <a:srgbClr val="F5F5F5"/>
                </a:solidFill>
                <a:latin typeface="Lucida Console" panose="020B0609040504020204" pitchFamily="49" charset="0"/>
              </a:rPr>
              <a:t>newKey</a:t>
            </a:r>
            <a:r>
              <a:rPr lang="en-US" sz="1800" dirty="0">
                <a:solidFill>
                  <a:srgbClr val="F5F5F5"/>
                </a:solidFill>
                <a:latin typeface="Lucida Console" panose="020B0609040504020204" pitchFamily="49" charset="0"/>
              </a:rPr>
              <a:t>                         5                                                                      </a:t>
            </a:r>
          </a:p>
          <a:p>
            <a:r>
              <a:rPr lang="en-US" sz="1800" dirty="0">
                <a:solidFill>
                  <a:srgbClr val="F5F5F5"/>
                </a:solidFill>
                <a:latin typeface="Lucida Console" panose="020B0609040504020204" pitchFamily="49" charset="0"/>
              </a:rPr>
              <a:t>Shape                          Square   </a:t>
            </a:r>
            <a:endParaRPr lang="en-US" sz="1800" dirty="0">
              <a:solidFill>
                <a:srgbClr val="FFE4C4"/>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1711045414"/>
      </p:ext>
    </p:extLst>
  </p:cSld>
  <p:clrMapOvr>
    <a:masterClrMapping/>
  </p:clrMapOvr>
</p:sld>
</file>

<file path=ppt/slides/slide1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DD2FF-31D2-43D0-AB65-17D79E373EC4}"/>
              </a:ext>
            </a:extLst>
          </p:cNvPr>
          <p:cNvSpPr>
            <a:spLocks noGrp="1"/>
          </p:cNvSpPr>
          <p:nvPr>
            <p:ph type="title"/>
          </p:nvPr>
        </p:nvSpPr>
        <p:spPr/>
        <p:txBody>
          <a:bodyPr/>
          <a:lstStyle/>
          <a:p>
            <a:r>
              <a:rPr lang="en-US"/>
              <a:t>Hash Tables </a:t>
            </a:r>
            <a:r>
              <a:rPr lang="en-US" dirty="0"/>
              <a:t>- Custom Objects</a:t>
            </a:r>
          </a:p>
        </p:txBody>
      </p:sp>
      <p:sp>
        <p:nvSpPr>
          <p:cNvPr id="8" name="Code Box">
            <a:extLst>
              <a:ext uri="{FF2B5EF4-FFF2-40B4-BE49-F238E27FC236}">
                <a16:creationId xmlns:a16="http://schemas.microsoft.com/office/drawing/2014/main" id="{0F0ABE6C-1549-46D5-BBE9-262AD24D208A}"/>
              </a:ext>
            </a:extLst>
          </p:cNvPr>
          <p:cNvSpPr>
            <a:spLocks noGrp="1"/>
          </p:cNvSpPr>
          <p:nvPr>
            <p:ph sz="quarter" idx="13"/>
            <p:custDataLst>
              <p:tags r:id="rId2"/>
            </p:custDataLst>
          </p:nvPr>
        </p:nvSpPr>
        <p:spPr>
          <a:xfrm>
            <a:off x="655638" y="2401294"/>
            <a:ext cx="10880725" cy="4319938"/>
          </a:xfrm>
          <a:prstGeom prst="rect">
            <a:avLst/>
          </a:prstGeom>
          <a:solidFill>
            <a:srgbClr val="012456"/>
          </a:solidFill>
        </p:spPr>
        <p:txBody>
          <a:bodyPr wrap="square" lIns="91440">
            <a:noAutofit/>
          </a:bodyPr>
          <a:lstStyle/>
          <a:p>
            <a:r>
              <a:rPr lang="en-US" sz="1800" dirty="0">
                <a:solidFill>
                  <a:srgbClr val="F5F5F5"/>
                </a:solidFill>
                <a:latin typeface="Lucida Console" panose="020B0609040504020204" pitchFamily="49" charset="0"/>
              </a:rPr>
              <a:t>PS&gt; </a:t>
            </a:r>
            <a:r>
              <a:rPr lang="en-US" sz="1800" dirty="0">
                <a:solidFill>
                  <a:srgbClr val="FF4500"/>
                </a:solidFill>
                <a:latin typeface="Lucida Console" panose="020B0609040504020204" pitchFamily="49" charset="0"/>
              </a:rPr>
              <a:t>$</a:t>
            </a:r>
            <a:r>
              <a:rPr lang="en-US" sz="1800" dirty="0" err="1">
                <a:solidFill>
                  <a:srgbClr val="FF4500"/>
                </a:solidFill>
                <a:latin typeface="Lucida Console" panose="020B0609040504020204" pitchFamily="49" charset="0"/>
              </a:rPr>
              <a:t>MyShape</a:t>
            </a:r>
            <a:r>
              <a:rPr lang="en-US" sz="1800" dirty="0">
                <a:solidFill>
                  <a:srgbClr val="F5F5F5"/>
                </a:solidFill>
                <a:latin typeface="Lucida Console" panose="020B0609040504020204" pitchFamily="49" charset="0"/>
              </a:rPr>
              <a:t> </a:t>
            </a:r>
            <a:r>
              <a:rPr lang="en-US" sz="1800" dirty="0">
                <a:solidFill>
                  <a:srgbClr val="D3D3D3"/>
                </a:solidFill>
                <a:latin typeface="Lucida Console" panose="020B0609040504020204" pitchFamily="49" charset="0"/>
              </a:rPr>
              <a:t>|</a:t>
            </a:r>
            <a:r>
              <a:rPr lang="en-US" sz="1800" dirty="0">
                <a:solidFill>
                  <a:srgbClr val="F5F5F5"/>
                </a:solidFill>
                <a:latin typeface="Lucida Console" panose="020B0609040504020204" pitchFamily="49" charset="0"/>
              </a:rPr>
              <a:t> </a:t>
            </a:r>
            <a:r>
              <a:rPr lang="en-US" sz="1800" dirty="0">
                <a:solidFill>
                  <a:srgbClr val="E0FFFF"/>
                </a:solidFill>
                <a:latin typeface="Lucida Console" panose="020B0609040504020204" pitchFamily="49" charset="0"/>
              </a:rPr>
              <a:t>GM </a:t>
            </a:r>
          </a:p>
          <a:p>
            <a:r>
              <a:rPr lang="en-US" sz="1800" dirty="0">
                <a:solidFill>
                  <a:srgbClr val="F5F5F5"/>
                </a:solidFill>
                <a:latin typeface="Lucida Console" panose="020B0609040504020204" pitchFamily="49" charset="0"/>
              </a:rPr>
              <a:t> TypeName: </a:t>
            </a:r>
            <a:r>
              <a:rPr lang="en-US" sz="1800" dirty="0" err="1">
                <a:solidFill>
                  <a:srgbClr val="F5F5F5"/>
                </a:solidFill>
                <a:latin typeface="Lucida Console" panose="020B0609040504020204" pitchFamily="49" charset="0"/>
              </a:rPr>
              <a:t>System.Management.Automation.PSCustomObject</a:t>
            </a:r>
            <a:endParaRPr lang="en-US" sz="1800" dirty="0">
              <a:solidFill>
                <a:srgbClr val="F5F5F5"/>
              </a:solidFill>
              <a:latin typeface="Lucida Console" panose="020B0609040504020204" pitchFamily="49" charset="0"/>
            </a:endParaRPr>
          </a:p>
          <a:p>
            <a:endParaRPr lang="en-US" sz="1800" dirty="0">
              <a:solidFill>
                <a:srgbClr val="F5F5F5"/>
              </a:solidFill>
              <a:latin typeface="Lucida Console" panose="020B0609040504020204" pitchFamily="49" charset="0"/>
            </a:endParaRPr>
          </a:p>
          <a:p>
            <a:r>
              <a:rPr lang="en-US" sz="1800" dirty="0">
                <a:solidFill>
                  <a:srgbClr val="F5F5F5"/>
                </a:solidFill>
                <a:latin typeface="Lucida Console" panose="020B0609040504020204" pitchFamily="49" charset="0"/>
              </a:rPr>
              <a:t>Name        </a:t>
            </a:r>
            <a:r>
              <a:rPr lang="en-US" sz="1800" dirty="0" err="1">
                <a:solidFill>
                  <a:srgbClr val="F5F5F5"/>
                </a:solidFill>
                <a:latin typeface="Lucida Console" panose="020B0609040504020204" pitchFamily="49" charset="0"/>
              </a:rPr>
              <a:t>MemberType</a:t>
            </a:r>
            <a:r>
              <a:rPr lang="en-US" sz="1800" dirty="0">
                <a:solidFill>
                  <a:srgbClr val="F5F5F5"/>
                </a:solidFill>
                <a:latin typeface="Lucida Console" panose="020B0609040504020204" pitchFamily="49" charset="0"/>
              </a:rPr>
              <a:t>   Definition                    </a:t>
            </a:r>
          </a:p>
          <a:p>
            <a:r>
              <a:rPr lang="en-US" sz="1800" dirty="0">
                <a:solidFill>
                  <a:srgbClr val="F5F5F5"/>
                </a:solidFill>
                <a:latin typeface="Lucida Console" panose="020B0609040504020204" pitchFamily="49" charset="0"/>
              </a:rPr>
              <a:t>----        ----------   ----------                    </a:t>
            </a:r>
          </a:p>
          <a:p>
            <a:r>
              <a:rPr lang="en-US" sz="1800" dirty="0">
                <a:solidFill>
                  <a:srgbClr val="F5F5F5"/>
                </a:solidFill>
                <a:latin typeface="Lucida Console" panose="020B0609040504020204" pitchFamily="49" charset="0"/>
              </a:rPr>
              <a:t>Equals      Method       bool Equals(</a:t>
            </a:r>
            <a:r>
              <a:rPr lang="en-US" sz="1800" dirty="0" err="1">
                <a:solidFill>
                  <a:srgbClr val="F5F5F5"/>
                </a:solidFill>
                <a:latin typeface="Lucida Console" panose="020B0609040504020204" pitchFamily="49" charset="0"/>
              </a:rPr>
              <a:t>System.Object</a:t>
            </a:r>
            <a:r>
              <a:rPr lang="en-US" sz="1800" dirty="0">
                <a:solidFill>
                  <a:srgbClr val="F5F5F5"/>
                </a:solidFill>
                <a:latin typeface="Lucida Console" panose="020B0609040504020204" pitchFamily="49" charset="0"/>
              </a:rPr>
              <a:t> obj)</a:t>
            </a:r>
          </a:p>
          <a:p>
            <a:r>
              <a:rPr lang="en-US" sz="1800" dirty="0" err="1">
                <a:solidFill>
                  <a:srgbClr val="F5F5F5"/>
                </a:solidFill>
                <a:latin typeface="Lucida Console" panose="020B0609040504020204" pitchFamily="49" charset="0"/>
              </a:rPr>
              <a:t>GetHashCode</a:t>
            </a:r>
            <a:r>
              <a:rPr lang="en-US" sz="1800" dirty="0">
                <a:solidFill>
                  <a:srgbClr val="F5F5F5"/>
                </a:solidFill>
                <a:latin typeface="Lucida Console" panose="020B0609040504020204" pitchFamily="49" charset="0"/>
              </a:rPr>
              <a:t> Method       int </a:t>
            </a:r>
            <a:r>
              <a:rPr lang="en-US" sz="1800" dirty="0" err="1">
                <a:solidFill>
                  <a:srgbClr val="F5F5F5"/>
                </a:solidFill>
                <a:latin typeface="Lucida Console" panose="020B0609040504020204" pitchFamily="49" charset="0"/>
              </a:rPr>
              <a:t>GetHashCode</a:t>
            </a:r>
            <a:r>
              <a:rPr lang="en-US" sz="1800" dirty="0">
                <a:solidFill>
                  <a:srgbClr val="F5F5F5"/>
                </a:solidFill>
                <a:latin typeface="Lucida Console" panose="020B0609040504020204" pitchFamily="49" charset="0"/>
              </a:rPr>
              <a:t>()             </a:t>
            </a:r>
          </a:p>
          <a:p>
            <a:r>
              <a:rPr lang="en-US" sz="1800" dirty="0" err="1">
                <a:solidFill>
                  <a:srgbClr val="F5F5F5"/>
                </a:solidFill>
                <a:latin typeface="Lucida Console" panose="020B0609040504020204" pitchFamily="49" charset="0"/>
              </a:rPr>
              <a:t>GetType</a:t>
            </a:r>
            <a:r>
              <a:rPr lang="en-US" sz="1800" dirty="0">
                <a:solidFill>
                  <a:srgbClr val="F5F5F5"/>
                </a:solidFill>
                <a:latin typeface="Lucida Console" panose="020B0609040504020204" pitchFamily="49" charset="0"/>
              </a:rPr>
              <a:t>     Method       type </a:t>
            </a:r>
            <a:r>
              <a:rPr lang="en-US" sz="1800" dirty="0" err="1">
                <a:solidFill>
                  <a:srgbClr val="F5F5F5"/>
                </a:solidFill>
                <a:latin typeface="Lucida Console" panose="020B0609040504020204" pitchFamily="49" charset="0"/>
              </a:rPr>
              <a:t>GetType</a:t>
            </a:r>
            <a:r>
              <a:rPr lang="en-US" sz="1800" dirty="0">
                <a:solidFill>
                  <a:srgbClr val="F5F5F5"/>
                </a:solidFill>
                <a:latin typeface="Lucida Console" panose="020B0609040504020204" pitchFamily="49" charset="0"/>
              </a:rPr>
              <a:t>()                </a:t>
            </a:r>
          </a:p>
          <a:p>
            <a:r>
              <a:rPr lang="en-US" sz="1800" dirty="0" err="1">
                <a:solidFill>
                  <a:srgbClr val="F5F5F5"/>
                </a:solidFill>
                <a:latin typeface="Lucida Console" panose="020B0609040504020204" pitchFamily="49" charset="0"/>
              </a:rPr>
              <a:t>ToString</a:t>
            </a:r>
            <a:r>
              <a:rPr lang="en-US" sz="1800" dirty="0">
                <a:solidFill>
                  <a:srgbClr val="F5F5F5"/>
                </a:solidFill>
                <a:latin typeface="Lucida Console" panose="020B0609040504020204" pitchFamily="49" charset="0"/>
              </a:rPr>
              <a:t>    Method       string </a:t>
            </a:r>
            <a:r>
              <a:rPr lang="en-US" sz="1800" dirty="0" err="1">
                <a:solidFill>
                  <a:srgbClr val="F5F5F5"/>
                </a:solidFill>
                <a:latin typeface="Lucida Console" panose="020B0609040504020204" pitchFamily="49" charset="0"/>
              </a:rPr>
              <a:t>ToString</a:t>
            </a:r>
            <a:r>
              <a:rPr lang="en-US" sz="1800" dirty="0">
                <a:solidFill>
                  <a:srgbClr val="F5F5F5"/>
                </a:solidFill>
                <a:latin typeface="Lucida Console" panose="020B0609040504020204" pitchFamily="49" charset="0"/>
              </a:rPr>
              <a:t>()             </a:t>
            </a:r>
          </a:p>
          <a:p>
            <a:r>
              <a:rPr lang="en-US" sz="1800" dirty="0">
                <a:solidFill>
                  <a:srgbClr val="F5F5F5"/>
                </a:solidFill>
                <a:latin typeface="Lucida Console" panose="020B0609040504020204" pitchFamily="49" charset="0"/>
              </a:rPr>
              <a:t>Color       </a:t>
            </a:r>
            <a:r>
              <a:rPr lang="en-US" sz="1800" dirty="0" err="1">
                <a:solidFill>
                  <a:srgbClr val="F5F5F5"/>
                </a:solidFill>
                <a:latin typeface="Lucida Console" panose="020B0609040504020204" pitchFamily="49" charset="0"/>
              </a:rPr>
              <a:t>NoteProperty</a:t>
            </a:r>
            <a:r>
              <a:rPr lang="en-US" sz="1800" dirty="0">
                <a:solidFill>
                  <a:srgbClr val="F5F5F5"/>
                </a:solidFill>
                <a:latin typeface="Lucida Console" panose="020B0609040504020204" pitchFamily="49" charset="0"/>
              </a:rPr>
              <a:t> string Color=Blue             </a:t>
            </a:r>
          </a:p>
          <a:p>
            <a:r>
              <a:rPr lang="en-US" sz="1800" dirty="0">
                <a:solidFill>
                  <a:srgbClr val="F5F5F5"/>
                </a:solidFill>
                <a:latin typeface="Lucida Console" panose="020B0609040504020204" pitchFamily="49" charset="0"/>
              </a:rPr>
              <a:t>Number      </a:t>
            </a:r>
            <a:r>
              <a:rPr lang="en-US" sz="1800" dirty="0" err="1">
                <a:solidFill>
                  <a:srgbClr val="F5F5F5"/>
                </a:solidFill>
                <a:latin typeface="Lucida Console" panose="020B0609040504020204" pitchFamily="49" charset="0"/>
              </a:rPr>
              <a:t>NoteProperty</a:t>
            </a:r>
            <a:r>
              <a:rPr lang="en-US" sz="1800" dirty="0">
                <a:solidFill>
                  <a:srgbClr val="F5F5F5"/>
                </a:solidFill>
                <a:latin typeface="Lucida Console" panose="020B0609040504020204" pitchFamily="49" charset="0"/>
              </a:rPr>
              <a:t> int Number=1                  </a:t>
            </a:r>
          </a:p>
          <a:p>
            <a:r>
              <a:rPr lang="en-US" sz="1800" dirty="0">
                <a:solidFill>
                  <a:srgbClr val="F5F5F5"/>
                </a:solidFill>
                <a:latin typeface="Lucida Console" panose="020B0609040504020204" pitchFamily="49" charset="0"/>
              </a:rPr>
              <a:t>Shape       </a:t>
            </a:r>
            <a:r>
              <a:rPr lang="en-US" sz="1800" dirty="0" err="1">
                <a:solidFill>
                  <a:srgbClr val="F5F5F5"/>
                </a:solidFill>
                <a:latin typeface="Lucida Console" panose="020B0609040504020204" pitchFamily="49" charset="0"/>
              </a:rPr>
              <a:t>NoteProperty</a:t>
            </a:r>
            <a:r>
              <a:rPr lang="en-US" sz="1800" dirty="0">
                <a:solidFill>
                  <a:srgbClr val="F5F5F5"/>
                </a:solidFill>
                <a:latin typeface="Lucida Console" panose="020B0609040504020204" pitchFamily="49" charset="0"/>
              </a:rPr>
              <a:t> string Shape=Square    </a:t>
            </a:r>
            <a:endParaRPr lang="en-US" sz="1800" dirty="0">
              <a:solidFill>
                <a:srgbClr val="E0FFFF"/>
              </a:solidFill>
              <a:latin typeface="Lucida Console" panose="020B0609040504020204" pitchFamily="49" charset="0"/>
            </a:endParaRPr>
          </a:p>
        </p:txBody>
      </p:sp>
      <p:sp>
        <p:nvSpPr>
          <p:cNvPr id="10" name="Rectangle 9">
            <a:extLst>
              <a:ext uri="{FF2B5EF4-FFF2-40B4-BE49-F238E27FC236}">
                <a16:creationId xmlns:a16="http://schemas.microsoft.com/office/drawing/2014/main" id="{9FE48F28-D2B3-47A3-898B-FC9375157ED6}"/>
              </a:ext>
            </a:extLst>
          </p:cNvPr>
          <p:cNvSpPr/>
          <p:nvPr/>
        </p:nvSpPr>
        <p:spPr>
          <a:xfrm>
            <a:off x="655637" y="781705"/>
            <a:ext cx="10880725" cy="1477328"/>
          </a:xfrm>
          <a:prstGeom prst="rect">
            <a:avLst/>
          </a:prstGeom>
          <a:solidFill>
            <a:srgbClr val="D7D7D7"/>
          </a:solidFill>
        </p:spPr>
        <p:txBody>
          <a:bodyPr wrap="square">
            <a:spAutoFit/>
          </a:bodyPr>
          <a:lstStyle/>
          <a:p>
            <a:r>
              <a:rPr lang="en-US" sz="1800" dirty="0"/>
              <a:t> </a:t>
            </a:r>
            <a:r>
              <a:rPr lang="en-US" sz="1800" dirty="0">
                <a:solidFill>
                  <a:srgbClr val="A82D00"/>
                </a:solidFill>
                <a:latin typeface="Lucida Console" panose="020B0609040504020204" pitchFamily="49" charset="0"/>
              </a:rPr>
              <a:t>$</a:t>
            </a:r>
            <a:r>
              <a:rPr lang="en-US" sz="1800" dirty="0" err="1">
                <a:solidFill>
                  <a:srgbClr val="A82D00"/>
                </a:solidFill>
                <a:latin typeface="Lucida Console" panose="020B0609040504020204" pitchFamily="49" charset="0"/>
              </a:rPr>
              <a:t>MyShape</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696969"/>
                </a:solidFill>
                <a:latin typeface="Lucida Console" panose="020B0609040504020204" pitchFamily="49" charset="0"/>
              </a:rPr>
              <a:t>[</a:t>
            </a:r>
            <a:r>
              <a:rPr lang="en-US" sz="1800" dirty="0" err="1">
                <a:solidFill>
                  <a:srgbClr val="006161"/>
                </a:solidFill>
                <a:latin typeface="Lucida Console" panose="020B0609040504020204" pitchFamily="49" charset="0"/>
              </a:rPr>
              <a:t>pscustomobject</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p>
          <a:p>
            <a:r>
              <a:rPr lang="en-US" sz="1800" dirty="0">
                <a:solidFill>
                  <a:prstClr val="black"/>
                </a:solidFill>
                <a:latin typeface="Lucida Console" panose="020B0609040504020204" pitchFamily="49" charset="0"/>
              </a:rPr>
              <a:t>    Number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00080"/>
                </a:solidFill>
                <a:latin typeface="Lucida Console" panose="020B0609040504020204" pitchFamily="49" charset="0"/>
              </a:rPr>
              <a:t>1</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Shape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Squar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Color </a:t>
            </a:r>
            <a:r>
              <a:rPr lang="en-US" sz="1800" dirty="0">
                <a:solidFill>
                  <a:srgbClr val="696969"/>
                </a:solidFill>
                <a:latin typeface="Lucida Console" panose="020B0609040504020204" pitchFamily="49" charset="0"/>
              </a:rPr>
              <a:t>=</a:t>
            </a:r>
            <a:r>
              <a:rPr lang="en-US" sz="1800" dirty="0">
                <a:solidFill>
                  <a:prstClr val="black"/>
                </a:solidFill>
                <a:latin typeface="Lucida Console" panose="020B0609040504020204" pitchFamily="49" charset="0"/>
              </a:rPr>
              <a:t> </a:t>
            </a:r>
            <a:r>
              <a:rPr lang="en-US" sz="1800" dirty="0">
                <a:solidFill>
                  <a:srgbClr val="8B0000"/>
                </a:solidFill>
                <a:latin typeface="Lucida Console" panose="020B0609040504020204" pitchFamily="49" charset="0"/>
              </a:rPr>
              <a:t>"Blue"</a:t>
            </a:r>
            <a:endParaRPr lang="en-US" sz="1800" dirty="0">
              <a:solidFill>
                <a:prstClr val="black"/>
              </a:solidFill>
              <a:latin typeface="Lucida Console" panose="020B0609040504020204" pitchFamily="49" charset="0"/>
            </a:endParaRPr>
          </a:p>
          <a:p>
            <a:r>
              <a:rPr lang="en-US" sz="1800" dirty="0">
                <a:solidFill>
                  <a:prstClr val="black"/>
                </a:solidFill>
                <a:latin typeface="Lucida Console" panose="020B0609040504020204" pitchFamily="49" charset="0"/>
              </a:rPr>
              <a:t>} </a:t>
            </a:r>
          </a:p>
        </p:txBody>
      </p:sp>
    </p:spTree>
    <p:custDataLst>
      <p:tags r:id="rId1"/>
    </p:custDataLst>
    <p:extLst>
      <p:ext uri="{BB962C8B-B14F-4D97-AF65-F5344CB8AC3E}">
        <p14:creationId xmlns:p14="http://schemas.microsoft.com/office/powerpoint/2010/main" val="1916595760"/>
      </p:ext>
    </p:extLst>
  </p:cSld>
  <p:clrMapOvr>
    <a:masterClrMapping/>
  </p:clrMapOvr>
</p:sld>
</file>

<file path=ppt/slides/slide18.xml><?xml version="1.0" encoding="utf-8"?>
<p:sld xmlns:a16="http://schemas.microsoft.com/office/drawing/2014/main"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2693534482"/>
      </p:ext>
    </p:extLst>
  </p:cSld>
  <p:clrMapOvr>
    <a:masterClrMapping/>
  </p:clrMapOvr>
  <p:transition spd="slow"/>
</p:sld>
</file>

<file path=ppt/slides/slide19.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789188734"/>
      </p:ext>
    </p:extLst>
  </p:cSld>
  <p:clrMapOvr>
    <a:masterClrMapping/>
  </p:clrMapOvr>
  <p:transition spd="slow"/>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076368552"/>
      </p:ext>
    </p:extLst>
  </p:cSld>
  <p:clrMapOvr>
    <a:masterClrMapping/>
  </p:clrMapOvr>
  <p:transition spd="slow"/>
</p:sld>
</file>

<file path=ppt/slides/slide3.xml><?xml version="1.0" encoding="utf-8"?>
<p:sld xmlns:a16="http://schemas.microsoft.com/office/drawing/2014/main" xmlns:adec="http://schemas.microsoft.com/office/drawing/2017/decorative"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normAutofit/>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normAutofit/>
          </a:bodyPr>
          <a:lstStyle/>
          <a:p>
            <a:r>
              <a:rPr lang="en-US" dirty="0"/>
              <a:t>The purpose of this learning unit is to do a quick review of expected knowledge:</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tags r:id="rId4"/>
            </p:custDataLst>
          </p:nvPr>
        </p:nvSpPr>
        <p:spPr>
          <a:xfrm>
            <a:off x="655638" y="1408114"/>
            <a:ext cx="10880726" cy="5373651"/>
          </a:xfrm>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r>
              <a:rPr lang="en-US" dirty="0"/>
              <a:t>Command Syntax</a:t>
            </a:r>
          </a:p>
          <a:p>
            <a:r>
              <a:rPr lang="en-US" dirty="0"/>
              <a:t>Pipeline</a:t>
            </a:r>
          </a:p>
          <a:p>
            <a:r>
              <a:rPr lang="en-US" dirty="0"/>
              <a:t>Functions &amp; Scripts</a:t>
            </a:r>
          </a:p>
          <a:p>
            <a:r>
              <a:rPr lang="en-US" dirty="0"/>
              <a:t>Objects &amp; Data Types</a:t>
            </a:r>
          </a:p>
          <a:p>
            <a:r>
              <a:rPr lang="en-US" dirty="0"/>
              <a:t>Arrays</a:t>
            </a:r>
          </a:p>
          <a:p>
            <a:r>
              <a:rPr lang="en-US" dirty="0"/>
              <a:t>Flow Control</a:t>
            </a:r>
          </a:p>
          <a:p>
            <a:r>
              <a:rPr lang="en-US" dirty="0"/>
              <a:t>Hash Table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5"/>
            </p:custDataLst>
          </p:nvPr>
        </p:nvPicPr>
        <p:blipFill>
          <a:blip r:embed="rId8">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146122403"/>
      </p:ext>
    </p:extLst>
  </p:cSld>
  <p:clrMapOvr>
    <a:masterClrMapping/>
  </p:clrMapOvr>
  <p:transition spd="slow"/>
</p:sld>
</file>

<file path=ppt/slides/slide4.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BC482BC7-922E-4B21-AC4B-4E904CC6B848}"/>
              </a:ext>
            </a:extLst>
          </p:cNvPr>
          <p:cNvGraphicFramePr/>
          <p:nvPr>
            <p:extLst>
              <p:ext uri="{D42A27DB-BD31-4B8C-83A1-F6EECF244321}">
                <p14:modId xmlns:p14="http://schemas.microsoft.com/office/powerpoint/2010/main" val="541065794"/>
              </p:ext>
            </p:extLst>
          </p:nvPr>
        </p:nvGraphicFramePr>
        <p:xfrm>
          <a:off x="-389821" y="1041833"/>
          <a:ext cx="12972346" cy="549612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itle 8"/>
          <p:cNvSpPr>
            <a:spLocks noGrp="1"/>
          </p:cNvSpPr>
          <p:nvPr>
            <p:ph type="title"/>
          </p:nvPr>
        </p:nvSpPr>
        <p:spPr/>
        <p:txBody>
          <a:bodyPr/>
          <a:lstStyle/>
          <a:p>
            <a:r>
              <a:rPr lang="en-US" dirty="0"/>
              <a:t>Cmdlets</a:t>
            </a:r>
          </a:p>
        </p:txBody>
      </p:sp>
    </p:spTree>
    <p:custDataLst>
      <p:tags r:id="rId1"/>
    </p:custDataLst>
    <p:extLst>
      <p:ext uri="{BB962C8B-B14F-4D97-AF65-F5344CB8AC3E}">
        <p14:creationId xmlns:p14="http://schemas.microsoft.com/office/powerpoint/2010/main" val="2012352407"/>
      </p:ext>
    </p:extLst>
  </p:cSld>
  <p:clrMapOvr>
    <a:masterClrMapping/>
  </p:clrMapOvr>
  <p:transition spd="slow"/>
</p:sld>
</file>

<file path=ppt/slides/slide5.xml><?xml version="1.0" encoding="utf-8"?>
<p:sld xmlns:a16="http://schemas.microsoft.com/office/drawing/2014/main" xmlns:adec="http://schemas.microsoft.com/office/drawing/2017/decorative"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Cmdlets</a:t>
            </a:r>
          </a:p>
        </p:txBody>
      </p:sp>
      <p:sp>
        <p:nvSpPr>
          <p:cNvPr id="4" name="Rectangle 3">
            <a:extLst>
              <a:ext uri="{FF2B5EF4-FFF2-40B4-BE49-F238E27FC236}">
                <a16:creationId xmlns:a16="http://schemas.microsoft.com/office/drawing/2014/main" id="{B2AE977E-8D3F-4833-9759-E4C390A2863C}"/>
              </a:ext>
            </a:extLst>
          </p:cNvPr>
          <p:cNvSpPr/>
          <p:nvPr/>
        </p:nvSpPr>
        <p:spPr>
          <a:xfrm>
            <a:off x="2596996" y="1465599"/>
            <a:ext cx="2706620" cy="2605425"/>
          </a:xfrm>
          <a:prstGeom prst="rect">
            <a:avLst/>
          </a:prstGeom>
          <a:solidFill>
            <a:schemeClr val="lt2">
              <a:alpha val="38000"/>
            </a:schemeClr>
          </a:solidFill>
          <a:ln>
            <a:solidFill>
              <a:schemeClr val="tx1"/>
            </a:solidFill>
          </a:ln>
        </p:spPr>
        <p:style>
          <a:lnRef idx="2">
            <a:schemeClr val="dk1"/>
          </a:lnRef>
          <a:fillRef idx="1">
            <a:schemeClr val="lt1"/>
          </a:fillRef>
          <a:effectRef idx="0">
            <a:schemeClr val="dk1"/>
          </a:effectRef>
          <a:fontRef idx="minor">
            <a:schemeClr val="dk1"/>
          </a:fontRef>
        </p:style>
        <p:txBody>
          <a:bodyPr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mn-cs"/>
              </a:rPr>
              <a:t>Command Name</a:t>
            </a:r>
          </a:p>
        </p:txBody>
      </p:sp>
      <p:sp>
        <p:nvSpPr>
          <p:cNvPr id="5" name="Rectangle 4">
            <a:extLst>
              <a:ext uri="{FF2B5EF4-FFF2-40B4-BE49-F238E27FC236}">
                <a16:creationId xmlns:a16="http://schemas.microsoft.com/office/drawing/2014/main" id="{B8D2A010-B367-44A4-851B-10DBCF512D04}"/>
              </a:ext>
            </a:extLst>
          </p:cNvPr>
          <p:cNvSpPr>
            <a:spLocks/>
          </p:cNvSpPr>
          <p:nvPr/>
        </p:nvSpPr>
        <p:spPr>
          <a:xfrm>
            <a:off x="5303616" y="1465600"/>
            <a:ext cx="4745009" cy="2605426"/>
          </a:xfrm>
          <a:prstGeom prst="rect">
            <a:avLst/>
          </a:prstGeom>
          <a:solidFill>
            <a:srgbClr val="E0FFFF"/>
          </a:solidFill>
          <a:ln>
            <a:solidFill>
              <a:schemeClr val="tx1"/>
            </a:solidFill>
          </a:ln>
        </p:spPr>
        <p:style>
          <a:lnRef idx="2">
            <a:schemeClr val="dk1"/>
          </a:lnRef>
          <a:fillRef idx="1">
            <a:schemeClr val="lt1"/>
          </a:fillRef>
          <a:effectRef idx="0">
            <a:schemeClr val="dk1"/>
          </a:effectRef>
          <a:fontRef idx="minor">
            <a:schemeClr val="dk1"/>
          </a:fontRef>
        </p:style>
        <p:txBody>
          <a:bodyPr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mn-cs"/>
              </a:rPr>
              <a:t>Command Parameters</a:t>
            </a:r>
          </a:p>
        </p:txBody>
      </p:sp>
      <p:sp>
        <p:nvSpPr>
          <p:cNvPr id="6" name="Content Placeholder 6">
            <a:extLst>
              <a:ext uri="{FF2B5EF4-FFF2-40B4-BE49-F238E27FC236}">
                <a16:creationId xmlns:a16="http://schemas.microsoft.com/office/drawing/2014/main" id="{A9679BE5-3302-43D6-9B71-5AF2BA0A4AFA}"/>
              </a:ext>
            </a:extLst>
          </p:cNvPr>
          <p:cNvSpPr txBox="1">
            <a:spLocks/>
          </p:cNvSpPr>
          <p:nvPr/>
        </p:nvSpPr>
        <p:spPr>
          <a:xfrm>
            <a:off x="2738866" y="1774536"/>
            <a:ext cx="7631394" cy="553847"/>
          </a:xfrm>
          <a:prstGeom prst="rect">
            <a:avLst/>
          </a:prstGeom>
        </p:spPr>
        <p:txBody>
          <a:bodyPr vert="horz" lIns="91440" tIns="45720" rIns="91440" bIns="45720" rtlCol="0">
            <a:normAutofit/>
          </a:bodyPr>
          <a:lstStyle>
            <a:lvl1pPr marL="0" indent="0" defTabSz="914400" eaLnBrk="1" hangingPunct="1">
              <a:lnSpc>
                <a:spcPct val="100000"/>
              </a:lnSpc>
              <a:spcBef>
                <a:spcPts val="300"/>
              </a:spcBef>
              <a:buFont typeface="Arial" panose="020B0604020202020204" pitchFamily="34" charset="0"/>
              <a:buNone/>
              <a:tabLst/>
              <a:defRPr sz="2400" baseline="0">
                <a:solidFill>
                  <a:schemeClr val="bg1"/>
                </a:solidFill>
                <a:latin typeface="Segoe UI Light" pitchFamily="34" charset="0"/>
                <a:cs typeface="Segoe Pro Light"/>
              </a:defRPr>
            </a:lvl1pPr>
            <a:lvl2pPr marL="457200" indent="0" eaLnBrk="1" hangingPunct="1">
              <a:lnSpc>
                <a:spcPct val="120000"/>
              </a:lnSpc>
              <a:defRPr sz="2000">
                <a:solidFill>
                  <a:schemeClr val="bg1"/>
                </a:solidFill>
                <a:latin typeface="Segoe UI Light" panose="020B0502040204020203" pitchFamily="34" charset="0"/>
                <a:cs typeface="Segoe UI Light" panose="020B0502040204020203" pitchFamily="34" charset="0"/>
              </a:defRPr>
            </a:lvl2pPr>
            <a:lvl3pPr marL="914400" indent="0" defTabSz="914400" eaLnBrk="1" hangingPunct="1">
              <a:lnSpc>
                <a:spcPct val="120000"/>
              </a:lnSpc>
              <a:tabLst/>
              <a:defRPr sz="1600">
                <a:solidFill>
                  <a:schemeClr val="bg1"/>
                </a:solidFill>
                <a:latin typeface="Segoe UI Light" panose="020B0502040204020203" pitchFamily="34" charset="0"/>
                <a:cs typeface="Segoe UI Light" panose="020B0502040204020203" pitchFamily="34" charset="0"/>
              </a:defRPr>
            </a:lvl3pPr>
            <a:lvl4pPr marL="1371600" indent="0" defTabSz="914400" eaLnBrk="1" hangingPunct="1">
              <a:lnSpc>
                <a:spcPct val="120000"/>
              </a:lnSpc>
              <a:tabLst/>
              <a:defRPr sz="1400">
                <a:solidFill>
                  <a:schemeClr val="bg1"/>
                </a:solidFill>
                <a:latin typeface="+mn-lt"/>
                <a:cs typeface="Segoe Pro Light"/>
              </a:defRPr>
            </a:lvl4pPr>
            <a:lvl5pPr marL="1828800" indent="0" defTabSz="914400" eaLnBrk="1" hangingPunct="1">
              <a:lnSpc>
                <a:spcPct val="120000"/>
              </a:lnSpc>
              <a:tabLst/>
              <a:defRPr sz="1400">
                <a:solidFill>
                  <a:schemeClr val="bg1"/>
                </a:solidFill>
                <a:latin typeface="+mn-lt"/>
                <a:cs typeface="Segoe Pro Light"/>
              </a:defRPr>
            </a:lvl5pPr>
            <a:lvl6pPr marL="2286000" indent="0">
              <a:defRPr sz="1600">
                <a:solidFill>
                  <a:schemeClr val="bg1"/>
                </a:solidFill>
              </a:defRPr>
            </a:lvl6pPr>
          </a:lstStyle>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2800" b="0" i="0" u="none" strike="noStrike" kern="0" cap="none" spc="0" normalizeH="0" baseline="0" noProof="0" dirty="0">
                <a:ln>
                  <a:noFill/>
                </a:ln>
                <a:solidFill>
                  <a:schemeClr val="accent1"/>
                </a:solidFill>
                <a:effectLst/>
                <a:uLnTx/>
                <a:uFillTx/>
                <a:latin typeface="Lucida Console" panose="020B0609040504020204" pitchFamily="49" charset="0"/>
                <a:ea typeface="+mn-ea"/>
              </a:rPr>
              <a:t>Remove-Item</a:t>
            </a:r>
            <a:r>
              <a:rPr kumimoji="0" lang="en-US" sz="2800" b="0" i="0" u="none" strike="noStrike" kern="0" cap="none" spc="0" normalizeH="0" baseline="0" noProof="0" dirty="0">
                <a:ln>
                  <a:noFill/>
                </a:ln>
                <a:solidFill>
                  <a:prstClr val="black"/>
                </a:solidFill>
                <a:effectLst/>
                <a:uLnTx/>
                <a:uFillTx/>
                <a:latin typeface="Lucida Console" panose="020B0609040504020204" pitchFamily="49" charset="0"/>
                <a:ea typeface="+mn-ea"/>
              </a:rPr>
              <a:t> </a:t>
            </a:r>
            <a:r>
              <a:rPr kumimoji="0" lang="en-US" sz="2800" b="0" i="0" u="none" strike="noStrike" kern="0" cap="none" spc="0" normalizeH="0" baseline="0" noProof="0" dirty="0">
                <a:ln>
                  <a:noFill/>
                </a:ln>
                <a:solidFill>
                  <a:srgbClr val="012456"/>
                </a:solidFill>
                <a:effectLst/>
                <a:uLnTx/>
                <a:uFillTx/>
                <a:latin typeface="Lucida Console" panose="020B0609040504020204" pitchFamily="49" charset="0"/>
                <a:ea typeface="+mn-ea"/>
              </a:rPr>
              <a:t>-Path</a:t>
            </a:r>
            <a:r>
              <a:rPr kumimoji="0" lang="en-US" sz="2800" b="0" i="0" u="none" strike="noStrike" kern="0" cap="none" spc="0" normalizeH="0" baseline="0" noProof="0" dirty="0">
                <a:ln>
                  <a:noFill/>
                </a:ln>
                <a:solidFill>
                  <a:prstClr val="black"/>
                </a:solidFill>
                <a:effectLst/>
                <a:uLnTx/>
                <a:uFillTx/>
                <a:latin typeface="Lucida Console" panose="020B0609040504020204" pitchFamily="49" charset="0"/>
                <a:ea typeface="+mn-ea"/>
              </a:rPr>
              <a:t> </a:t>
            </a:r>
            <a:r>
              <a:rPr kumimoji="0" lang="en-US" sz="2800" b="0" i="0" u="none" strike="noStrike" kern="0" cap="none" spc="0" normalizeH="0" baseline="0" noProof="0" dirty="0">
                <a:ln>
                  <a:noFill/>
                </a:ln>
                <a:solidFill>
                  <a:schemeClr val="accent5"/>
                </a:solidFill>
                <a:effectLst/>
                <a:uLnTx/>
                <a:uFillTx/>
                <a:latin typeface="Lucida Console" panose="020B0609040504020204" pitchFamily="49" charset="0"/>
                <a:ea typeface="+mn-ea"/>
              </a:rPr>
              <a:t>C:\Temp </a:t>
            </a:r>
            <a:r>
              <a:rPr kumimoji="0" lang="en-US" sz="2800" b="0" i="0" u="none" strike="noStrike" kern="0" cap="none" spc="0" normalizeH="0" baseline="0" noProof="0" dirty="0">
                <a:ln>
                  <a:noFill/>
                </a:ln>
                <a:solidFill>
                  <a:srgbClr val="012456"/>
                </a:solidFill>
                <a:effectLst/>
                <a:uLnTx/>
                <a:uFillTx/>
                <a:latin typeface="Lucida Console" panose="020B0609040504020204" pitchFamily="49" charset="0"/>
                <a:ea typeface="+mn-ea"/>
              </a:rPr>
              <a:t>-Force </a:t>
            </a: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en-US" sz="2800" b="0" i="0" u="none" strike="noStrike" kern="0" cap="none" spc="0" normalizeH="0" baseline="0" noProof="0" dirty="0">
              <a:ln>
                <a:noFill/>
              </a:ln>
              <a:solidFill>
                <a:schemeClr val="accent5"/>
              </a:solidFill>
              <a:effectLst/>
              <a:uLnTx/>
              <a:uFillTx/>
              <a:latin typeface="Lucida Console" panose="020B0609040504020204" pitchFamily="49" charset="0"/>
              <a:ea typeface="+mn-ea"/>
            </a:endParaRP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en-US" sz="2800" b="0" i="0" u="none" strike="noStrike" kern="0" cap="none" spc="0" normalizeH="0" baseline="0" noProof="0" dirty="0">
              <a:ln>
                <a:noFill/>
              </a:ln>
              <a:solidFill>
                <a:prstClr val="black"/>
              </a:solidFill>
              <a:effectLst/>
              <a:uLnTx/>
              <a:uFillTx/>
              <a:latin typeface="Lucida Console" panose="020B0609040504020204" pitchFamily="49" charset="0"/>
              <a:ea typeface="+mn-ea"/>
            </a:endParaRP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en-US" sz="2400" b="0" i="0" u="none" strike="noStrike" kern="0" cap="none" spc="0" normalizeH="0" baseline="0" noProof="0" dirty="0">
              <a:ln>
                <a:noFill/>
              </a:ln>
              <a:solidFill>
                <a:srgbClr val="000000"/>
              </a:solidFill>
              <a:effectLst/>
              <a:uLnTx/>
              <a:uFillTx/>
              <a:latin typeface="Segoe UI Light" pitchFamily="34" charset="0"/>
              <a:ea typeface="+mn-ea"/>
            </a:endParaRPr>
          </a:p>
        </p:txBody>
      </p:sp>
      <p:grpSp>
        <p:nvGrpSpPr>
          <p:cNvPr id="7" name="Group 6">
            <a:extLst>
              <a:ext uri="{FF2B5EF4-FFF2-40B4-BE49-F238E27FC236}">
                <a16:creationId xmlns:a16="http://schemas.microsoft.com/office/drawing/2014/main" id="{53408FF1-4C7C-47BA-BE95-F9FDAC2221CC}"/>
              </a:ext>
              <a:ext uri="{C183D7F6-B498-43B3-948B-1728B52AA6E4}">
                <adec:decorative xmlns:adec="http://schemas.microsoft.com/office/drawing/2017/decorative" val="1"/>
              </a:ext>
            </a:extLst>
          </p:cNvPr>
          <p:cNvGrpSpPr/>
          <p:nvPr/>
        </p:nvGrpSpPr>
        <p:grpSpPr>
          <a:xfrm>
            <a:off x="2859849" y="2326244"/>
            <a:ext cx="1197736" cy="1249834"/>
            <a:chOff x="2356833" y="3780921"/>
            <a:chExt cx="1197736" cy="1249834"/>
          </a:xfrm>
          <a:solidFill>
            <a:srgbClr val="D3D3D3"/>
          </a:solidFill>
        </p:grpSpPr>
        <p:sp>
          <p:nvSpPr>
            <p:cNvPr id="8" name="Left Brace 7">
              <a:extLst>
                <a:ext uri="{FF2B5EF4-FFF2-40B4-BE49-F238E27FC236}">
                  <a16:creationId xmlns:a16="http://schemas.microsoft.com/office/drawing/2014/main" id="{0B56BD67-9219-4652-BA3D-3E3B608F06B3}"/>
                </a:ext>
              </a:extLst>
            </p:cNvPr>
            <p:cNvSpPr/>
            <p:nvPr/>
          </p:nvSpPr>
          <p:spPr>
            <a:xfrm rot="16200000">
              <a:off x="2775681" y="3362073"/>
              <a:ext cx="360040" cy="1197736"/>
            </a:xfrm>
            <a:prstGeom prst="leftBrace">
              <a:avLst/>
            </a:prstGeom>
            <a:grpFill/>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697A7171-E717-4366-A68A-84BA64696A43}"/>
                </a:ext>
              </a:extLst>
            </p:cNvPr>
            <p:cNvSpPr/>
            <p:nvPr/>
          </p:nvSpPr>
          <p:spPr>
            <a:xfrm>
              <a:off x="2379938" y="4257069"/>
              <a:ext cx="1016390" cy="773686"/>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Verb</a:t>
              </a:r>
            </a:p>
          </p:txBody>
        </p:sp>
      </p:grpSp>
      <p:grpSp>
        <p:nvGrpSpPr>
          <p:cNvPr id="11" name="Group 10">
            <a:extLst>
              <a:ext uri="{FF2B5EF4-FFF2-40B4-BE49-F238E27FC236}">
                <a16:creationId xmlns:a16="http://schemas.microsoft.com/office/drawing/2014/main" id="{CB6F8B02-8BB8-4FA7-952B-7F6A8C27E88E}"/>
              </a:ext>
              <a:ext uri="{C183D7F6-B498-43B3-948B-1728B52AA6E4}">
                <adec:decorative xmlns:adec="http://schemas.microsoft.com/office/drawing/2017/decorative" val="1"/>
              </a:ext>
            </a:extLst>
          </p:cNvPr>
          <p:cNvGrpSpPr>
            <a:grpSpLocks/>
          </p:cNvGrpSpPr>
          <p:nvPr/>
        </p:nvGrpSpPr>
        <p:grpSpPr>
          <a:xfrm>
            <a:off x="4136230" y="2326244"/>
            <a:ext cx="1048132" cy="1249834"/>
            <a:chOff x="3633213" y="3783059"/>
            <a:chExt cx="1048132" cy="1249834"/>
          </a:xfrm>
          <a:solidFill>
            <a:srgbClr val="D3D3D3"/>
          </a:solidFill>
        </p:grpSpPr>
        <p:sp>
          <p:nvSpPr>
            <p:cNvPr id="12" name="Left Brace 11">
              <a:extLst>
                <a:ext uri="{FF2B5EF4-FFF2-40B4-BE49-F238E27FC236}">
                  <a16:creationId xmlns:a16="http://schemas.microsoft.com/office/drawing/2014/main" id="{670AC4D4-F7C5-469C-A0EA-2CBAEDE22856}"/>
                </a:ext>
              </a:extLst>
            </p:cNvPr>
            <p:cNvSpPr/>
            <p:nvPr/>
          </p:nvSpPr>
          <p:spPr>
            <a:xfrm rot="16200000">
              <a:off x="4024806" y="3486560"/>
              <a:ext cx="360040" cy="953037"/>
            </a:xfrm>
            <a:prstGeom prst="leftBrace">
              <a:avLst/>
            </a:prstGeom>
            <a:grpFill/>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1B9974FB-6B4C-403F-91EF-0818F28A9527}"/>
                </a:ext>
              </a:extLst>
            </p:cNvPr>
            <p:cNvSpPr/>
            <p:nvPr/>
          </p:nvSpPr>
          <p:spPr>
            <a:xfrm>
              <a:off x="3633213" y="4259207"/>
              <a:ext cx="1048132" cy="773686"/>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Noun</a:t>
              </a:r>
            </a:p>
          </p:txBody>
        </p:sp>
      </p:grpSp>
      <p:grpSp>
        <p:nvGrpSpPr>
          <p:cNvPr id="14" name="Group 13">
            <a:extLst>
              <a:ext uri="{FF2B5EF4-FFF2-40B4-BE49-F238E27FC236}">
                <a16:creationId xmlns:a16="http://schemas.microsoft.com/office/drawing/2014/main" id="{55379088-BBF5-4385-9A72-6B017D061FEB}"/>
              </a:ext>
              <a:ext uri="{C183D7F6-B498-43B3-948B-1728B52AA6E4}">
                <adec:decorative xmlns:adec="http://schemas.microsoft.com/office/drawing/2017/decorative" val="1"/>
              </a:ext>
            </a:extLst>
          </p:cNvPr>
          <p:cNvGrpSpPr/>
          <p:nvPr/>
        </p:nvGrpSpPr>
        <p:grpSpPr>
          <a:xfrm>
            <a:off x="5424435" y="2322247"/>
            <a:ext cx="1233762" cy="1253831"/>
            <a:chOff x="4921419" y="3776924"/>
            <a:chExt cx="1233762" cy="1253831"/>
          </a:xfrm>
          <a:solidFill>
            <a:srgbClr val="D3D3D3"/>
          </a:solidFill>
        </p:grpSpPr>
        <p:sp>
          <p:nvSpPr>
            <p:cNvPr id="15" name="Left Brace 14">
              <a:extLst>
                <a:ext uri="{FF2B5EF4-FFF2-40B4-BE49-F238E27FC236}">
                  <a16:creationId xmlns:a16="http://schemas.microsoft.com/office/drawing/2014/main" id="{6A2E947A-192B-489C-87C7-C9626D799F65}"/>
                </a:ext>
              </a:extLst>
            </p:cNvPr>
            <p:cNvSpPr/>
            <p:nvPr/>
          </p:nvSpPr>
          <p:spPr>
            <a:xfrm rot="16200000">
              <a:off x="5350734" y="3550709"/>
              <a:ext cx="387660" cy="840089"/>
            </a:xfrm>
            <a:prstGeom prst="leftBrace">
              <a:avLst/>
            </a:prstGeom>
            <a:grpFill/>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94487CA1-851D-497B-87F1-A2DD280C218F}"/>
                </a:ext>
              </a:extLst>
            </p:cNvPr>
            <p:cNvSpPr/>
            <p:nvPr/>
          </p:nvSpPr>
          <p:spPr>
            <a:xfrm>
              <a:off x="4921419" y="4257068"/>
              <a:ext cx="1233762" cy="773687"/>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Parameter Name</a:t>
              </a:r>
            </a:p>
          </p:txBody>
        </p:sp>
      </p:grpSp>
      <p:grpSp>
        <p:nvGrpSpPr>
          <p:cNvPr id="17" name="Group 16">
            <a:extLst>
              <a:ext uri="{FF2B5EF4-FFF2-40B4-BE49-F238E27FC236}">
                <a16:creationId xmlns:a16="http://schemas.microsoft.com/office/drawing/2014/main" id="{7EF8F27D-128D-4A44-B7A9-F39830E4FDC0}"/>
              </a:ext>
              <a:ext uri="{C183D7F6-B498-43B3-948B-1728B52AA6E4}">
                <adec:decorative xmlns:adec="http://schemas.microsoft.com/office/drawing/2017/decorative" val="1"/>
              </a:ext>
            </a:extLst>
          </p:cNvPr>
          <p:cNvGrpSpPr/>
          <p:nvPr/>
        </p:nvGrpSpPr>
        <p:grpSpPr>
          <a:xfrm>
            <a:off x="6727166" y="2319340"/>
            <a:ext cx="1628063" cy="1256738"/>
            <a:chOff x="6224150" y="3774017"/>
            <a:chExt cx="1628063" cy="1256738"/>
          </a:xfrm>
          <a:solidFill>
            <a:srgbClr val="D3D3D3"/>
          </a:solidFill>
        </p:grpSpPr>
        <p:sp>
          <p:nvSpPr>
            <p:cNvPr id="18" name="Left Brace 17">
              <a:extLst>
                <a:ext uri="{FF2B5EF4-FFF2-40B4-BE49-F238E27FC236}">
                  <a16:creationId xmlns:a16="http://schemas.microsoft.com/office/drawing/2014/main" id="{F7D2EEA0-830C-4806-BEEB-AD6FBB235785}"/>
                </a:ext>
              </a:extLst>
            </p:cNvPr>
            <p:cNvSpPr/>
            <p:nvPr/>
          </p:nvSpPr>
          <p:spPr>
            <a:xfrm rot="16200000">
              <a:off x="6814707" y="3183460"/>
              <a:ext cx="373849" cy="1554963"/>
            </a:xfrm>
            <a:prstGeom prst="leftBrace">
              <a:avLst>
                <a:gd name="adj1" fmla="val 8333"/>
                <a:gd name="adj2" fmla="val 64952"/>
              </a:avLst>
            </a:prstGeom>
            <a:grpFill/>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F6464BB8-21DE-445B-87F6-2C76F12CA035}"/>
                </a:ext>
              </a:extLst>
            </p:cNvPr>
            <p:cNvSpPr/>
            <p:nvPr/>
          </p:nvSpPr>
          <p:spPr>
            <a:xfrm>
              <a:off x="6596243" y="4257068"/>
              <a:ext cx="1255970" cy="773687"/>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Parameter Value</a:t>
              </a:r>
            </a:p>
          </p:txBody>
        </p:sp>
      </p:grpSp>
      <p:grpSp>
        <p:nvGrpSpPr>
          <p:cNvPr id="20" name="Group 19">
            <a:extLst>
              <a:ext uri="{FF2B5EF4-FFF2-40B4-BE49-F238E27FC236}">
                <a16:creationId xmlns:a16="http://schemas.microsoft.com/office/drawing/2014/main" id="{D2ACA92A-03A7-4E86-8347-3F61D92638BA}"/>
              </a:ext>
              <a:ext uri="{C183D7F6-B498-43B3-948B-1728B52AA6E4}">
                <adec:decorative xmlns:adec="http://schemas.microsoft.com/office/drawing/2017/decorative" val="1"/>
              </a:ext>
            </a:extLst>
          </p:cNvPr>
          <p:cNvGrpSpPr/>
          <p:nvPr/>
        </p:nvGrpSpPr>
        <p:grpSpPr>
          <a:xfrm>
            <a:off x="8629585" y="2317642"/>
            <a:ext cx="1306678" cy="1258436"/>
            <a:chOff x="8126569" y="3772319"/>
            <a:chExt cx="1306678" cy="1258436"/>
          </a:xfrm>
          <a:solidFill>
            <a:srgbClr val="D3D3D3"/>
          </a:solidFill>
        </p:grpSpPr>
        <p:sp>
          <p:nvSpPr>
            <p:cNvPr id="21" name="Left Brace 20">
              <a:extLst>
                <a:ext uri="{FF2B5EF4-FFF2-40B4-BE49-F238E27FC236}">
                  <a16:creationId xmlns:a16="http://schemas.microsoft.com/office/drawing/2014/main" id="{69CF8980-7252-4E87-8877-AFC12F142EC7}"/>
                </a:ext>
              </a:extLst>
            </p:cNvPr>
            <p:cNvSpPr/>
            <p:nvPr/>
          </p:nvSpPr>
          <p:spPr>
            <a:xfrm rot="16200000">
              <a:off x="8526970" y="3371918"/>
              <a:ext cx="352388" cy="1153190"/>
            </a:xfrm>
            <a:prstGeom prst="leftBrace">
              <a:avLst>
                <a:gd name="adj1" fmla="val 8333"/>
                <a:gd name="adj2" fmla="val 57226"/>
              </a:avLst>
            </a:prstGeom>
            <a:grpFill/>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2" name="Rectangle 21">
              <a:extLst>
                <a:ext uri="{FF2B5EF4-FFF2-40B4-BE49-F238E27FC236}">
                  <a16:creationId xmlns:a16="http://schemas.microsoft.com/office/drawing/2014/main" id="{4A5EEBAC-7D1F-4363-BC4F-6AF0ECA9FF40}"/>
                </a:ext>
              </a:extLst>
            </p:cNvPr>
            <p:cNvSpPr/>
            <p:nvPr/>
          </p:nvSpPr>
          <p:spPr>
            <a:xfrm>
              <a:off x="8172176" y="4257068"/>
              <a:ext cx="1261071" cy="773687"/>
            </a:xfrm>
            <a:prstGeom prst="rect">
              <a:avLst/>
            </a:prstGeom>
            <a:grp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Switch Parameter</a:t>
              </a:r>
            </a:p>
          </p:txBody>
        </p:sp>
      </p:grpSp>
      <p:sp>
        <p:nvSpPr>
          <p:cNvPr id="25" name="Rectangle 24">
            <a:extLst>
              <a:ext uri="{FF2B5EF4-FFF2-40B4-BE49-F238E27FC236}">
                <a16:creationId xmlns:a16="http://schemas.microsoft.com/office/drawing/2014/main" id="{4F9E1F95-7897-4CA3-92F7-3A73F4CC2ECE}"/>
              </a:ext>
            </a:extLst>
          </p:cNvPr>
          <p:cNvSpPr/>
          <p:nvPr/>
        </p:nvSpPr>
        <p:spPr>
          <a:xfrm>
            <a:off x="2596995" y="4404960"/>
            <a:ext cx="7451629" cy="1323439"/>
          </a:xfrm>
          <a:prstGeom prst="rect">
            <a:avLst/>
          </a:prstGeom>
          <a:solidFill>
            <a:srgbClr val="002050"/>
          </a:solidFill>
          <a:ln>
            <a:solidFill>
              <a:schemeClr val="bg2"/>
            </a:solidFill>
          </a:ln>
        </p:spPr>
        <p:txBody>
          <a:bodyPr wrap="square">
            <a:spAutoFit/>
          </a:bodyPr>
          <a:lstStyle/>
          <a:p>
            <a:r>
              <a:rPr lang="en-US" sz="2000" dirty="0"/>
              <a:t> </a:t>
            </a:r>
            <a:r>
              <a:rPr lang="en-US" sz="2000" dirty="0">
                <a:solidFill>
                  <a:schemeClr val="bg1"/>
                </a:solidFill>
              </a:rPr>
              <a:t>PS&gt; </a:t>
            </a:r>
            <a:r>
              <a:rPr lang="en-US" sz="2000" dirty="0">
                <a:solidFill>
                  <a:srgbClr val="E0FFFF"/>
                </a:solidFill>
                <a:latin typeface="Lucida Console" panose="020B0609040504020204" pitchFamily="49" charset="0"/>
              </a:rPr>
              <a:t>Get-Command</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Name</a:t>
            </a:r>
            <a:r>
              <a:rPr lang="en-US" sz="2000" dirty="0">
                <a:solidFill>
                  <a:srgbClr val="F5F5F5"/>
                </a:solidFill>
                <a:latin typeface="Lucida Console" panose="020B0609040504020204" pitchFamily="49" charset="0"/>
              </a:rPr>
              <a:t> </a:t>
            </a:r>
            <a:r>
              <a:rPr lang="en-US" sz="2000" dirty="0">
                <a:solidFill>
                  <a:srgbClr val="EE82EE"/>
                </a:solidFill>
                <a:latin typeface="Lucida Console" panose="020B0609040504020204" pitchFamily="49" charset="0"/>
              </a:rPr>
              <a:t>Remove-Item</a:t>
            </a:r>
            <a:r>
              <a:rPr lang="en-US" sz="2000" dirty="0">
                <a:solidFill>
                  <a:srgbClr val="F5F5F5"/>
                </a:solidFill>
                <a:latin typeface="Lucida Console" panose="020B0609040504020204" pitchFamily="49" charset="0"/>
              </a:rPr>
              <a:t> </a:t>
            </a:r>
            <a:r>
              <a:rPr lang="en-US" sz="2000" dirty="0">
                <a:solidFill>
                  <a:srgbClr val="FFE4B5"/>
                </a:solidFill>
                <a:latin typeface="Lucida Console" panose="020B0609040504020204" pitchFamily="49" charset="0"/>
              </a:rPr>
              <a:t>–syntax</a:t>
            </a:r>
          </a:p>
          <a:p>
            <a:r>
              <a:rPr lang="en-US" sz="2000" dirty="0"/>
              <a:t> </a:t>
            </a:r>
          </a:p>
          <a:p>
            <a:r>
              <a:rPr lang="en-US" sz="2000" dirty="0">
                <a:solidFill>
                  <a:srgbClr val="F5F5F5"/>
                </a:solidFill>
                <a:latin typeface="Lucida Console" panose="020B0609040504020204" pitchFamily="49" charset="0"/>
              </a:rPr>
              <a:t>Remove-Item [-Path] &lt;string[]&gt; </a:t>
            </a:r>
          </a:p>
          <a:p>
            <a:r>
              <a:rPr lang="en-US" sz="2000" dirty="0">
                <a:solidFill>
                  <a:srgbClr val="F5F5F5"/>
                </a:solidFill>
                <a:latin typeface="Lucida Console" panose="020B0609040504020204" pitchFamily="49" charset="0"/>
              </a:rPr>
              <a:t>[-Filter &lt;string&gt;] ...[&lt;</a:t>
            </a:r>
            <a:r>
              <a:rPr lang="en-US" sz="2000" dirty="0" err="1">
                <a:solidFill>
                  <a:srgbClr val="F5F5F5"/>
                </a:solidFill>
                <a:latin typeface="Lucida Console" panose="020B0609040504020204" pitchFamily="49" charset="0"/>
              </a:rPr>
              <a:t>CommonParameters</a:t>
            </a:r>
            <a:r>
              <a:rPr lang="en-US" sz="2000" dirty="0">
                <a:solidFill>
                  <a:srgbClr val="F5F5F5"/>
                </a:solidFill>
                <a:latin typeface="Lucida Console" panose="020B0609040504020204" pitchFamily="49" charset="0"/>
              </a:rPr>
              <a:t>&gt;] </a:t>
            </a:r>
          </a:p>
        </p:txBody>
      </p:sp>
    </p:spTree>
    <p:custDataLst>
      <p:tags r:id="rId1"/>
    </p:custDataLst>
    <p:extLst>
      <p:ext uri="{BB962C8B-B14F-4D97-AF65-F5344CB8AC3E}">
        <p14:creationId xmlns:p14="http://schemas.microsoft.com/office/powerpoint/2010/main" val="307529730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11"/>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6.xml><?xml version="1.0" encoding="utf-8"?>
<p:sld xmlns:a16="http://schemas.microsoft.com/office/drawing/2014/main" xmlns:adec="http://schemas.microsoft.com/office/drawing/2017/decorative"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0E9099D-5DC6-4F6D-B5D9-CF1B25BC729B}"/>
              </a:ext>
              <a:ext uri="{C183D7F6-B498-43B3-948B-1728B52AA6E4}">
                <adec:decorative xmlns:adec="http://schemas.microsoft.com/office/drawing/2017/decorative" val="1"/>
              </a:ext>
            </a:extLst>
          </p:cNvPr>
          <p:cNvSpPr/>
          <p:nvPr/>
        </p:nvSpPr>
        <p:spPr>
          <a:xfrm>
            <a:off x="7066330" y="6053726"/>
            <a:ext cx="4820870" cy="393203"/>
          </a:xfrm>
          <a:prstGeom prst="rect">
            <a:avLst/>
          </a:prstGeom>
          <a:solidFill>
            <a:srgbClr val="012456"/>
          </a:solidFill>
        </p:spPr>
        <p:style>
          <a:lnRef idx="1">
            <a:schemeClr val="accent1">
              <a:hueOff val="0"/>
              <a:satOff val="0"/>
              <a:lumOff val="0"/>
              <a:alphaOff val="0"/>
            </a:schemeClr>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19" name="Rectangle 18">
            <a:extLst>
              <a:ext uri="{FF2B5EF4-FFF2-40B4-BE49-F238E27FC236}">
                <a16:creationId xmlns:a16="http://schemas.microsoft.com/office/drawing/2014/main" id="{C2D85ABA-D8F3-486B-94E6-440BEB2D1B07}"/>
              </a:ext>
              <a:ext uri="{C183D7F6-B498-43B3-948B-1728B52AA6E4}">
                <adec:decorative xmlns:adec="http://schemas.microsoft.com/office/drawing/2017/decorative" val="1"/>
              </a:ext>
            </a:extLst>
          </p:cNvPr>
          <p:cNvSpPr/>
          <p:nvPr/>
        </p:nvSpPr>
        <p:spPr>
          <a:xfrm>
            <a:off x="7066330" y="4878124"/>
            <a:ext cx="4820870" cy="393203"/>
          </a:xfrm>
          <a:prstGeom prst="rect">
            <a:avLst/>
          </a:prstGeom>
          <a:solidFill>
            <a:srgbClr val="012456"/>
          </a:solidFill>
        </p:spPr>
        <p:style>
          <a:lnRef idx="1">
            <a:schemeClr val="accent1">
              <a:hueOff val="0"/>
              <a:satOff val="0"/>
              <a:lumOff val="0"/>
              <a:alphaOff val="0"/>
            </a:schemeClr>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23" name="Rectangle 22">
            <a:extLst>
              <a:ext uri="{FF2B5EF4-FFF2-40B4-BE49-F238E27FC236}">
                <a16:creationId xmlns:a16="http://schemas.microsoft.com/office/drawing/2014/main" id="{1A86152F-4837-4033-8424-B9A0EBA645B6}"/>
              </a:ext>
              <a:ext uri="{C183D7F6-B498-43B3-948B-1728B52AA6E4}">
                <adec:decorative xmlns:adec="http://schemas.microsoft.com/office/drawing/2017/decorative" val="1"/>
              </a:ext>
            </a:extLst>
          </p:cNvPr>
          <p:cNvSpPr/>
          <p:nvPr/>
        </p:nvSpPr>
        <p:spPr>
          <a:xfrm>
            <a:off x="331537" y="4691030"/>
            <a:ext cx="5775157" cy="580300"/>
          </a:xfrm>
          <a:prstGeom prst="rect">
            <a:avLst/>
          </a:prstGeom>
          <a:solidFill>
            <a:srgbClr val="012456"/>
          </a:solidFill>
        </p:spPr>
        <p:style>
          <a:lnRef idx="1">
            <a:schemeClr val="accent1">
              <a:hueOff val="0"/>
              <a:satOff val="0"/>
              <a:lumOff val="0"/>
              <a:alphaOff val="0"/>
            </a:schemeClr>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12" name="Rectangle 11">
            <a:extLst>
              <a:ext uri="{FF2B5EF4-FFF2-40B4-BE49-F238E27FC236}">
                <a16:creationId xmlns:a16="http://schemas.microsoft.com/office/drawing/2014/main" id="{945C0308-A0DF-46A7-9F37-443D2C253EC6}"/>
              </a:ext>
              <a:ext uri="{C183D7F6-B498-43B3-948B-1728B52AA6E4}">
                <adec:decorative xmlns:adec="http://schemas.microsoft.com/office/drawing/2017/decorative" val="1"/>
              </a:ext>
            </a:extLst>
          </p:cNvPr>
          <p:cNvSpPr/>
          <p:nvPr/>
        </p:nvSpPr>
        <p:spPr>
          <a:xfrm>
            <a:off x="7066328" y="3622175"/>
            <a:ext cx="4820872" cy="393203"/>
          </a:xfrm>
          <a:prstGeom prst="rect">
            <a:avLst/>
          </a:prstGeom>
          <a:solidFill>
            <a:srgbClr val="012456"/>
          </a:solidFill>
        </p:spPr>
        <p:style>
          <a:lnRef idx="1">
            <a:schemeClr val="accent1">
              <a:hueOff val="0"/>
              <a:satOff val="0"/>
              <a:lumOff val="0"/>
              <a:alphaOff val="0"/>
            </a:schemeClr>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6" name="Title 5"/>
          <p:cNvSpPr>
            <a:spLocks noGrp="1"/>
          </p:cNvSpPr>
          <p:nvPr>
            <p:ph type="title"/>
          </p:nvPr>
        </p:nvSpPr>
        <p:spPr/>
        <p:txBody>
          <a:bodyPr/>
          <a:lstStyle/>
          <a:p>
            <a:r>
              <a:rPr lang="en-US" dirty="0"/>
              <a:t>Aliases</a:t>
            </a:r>
          </a:p>
        </p:txBody>
      </p:sp>
      <p:graphicFrame>
        <p:nvGraphicFramePr>
          <p:cNvPr id="2" name="Content Placeholder 1">
            <a:extLst>
              <a:ext uri="{FF2B5EF4-FFF2-40B4-BE49-F238E27FC236}">
                <a16:creationId xmlns:a16="http://schemas.microsoft.com/office/drawing/2014/main" id="{4D63B595-FE8A-4DC4-A9E0-3EFDD190A204}"/>
              </a:ext>
            </a:extLst>
          </p:cNvPr>
          <p:cNvGraphicFramePr>
            <a:graphicFrameLocks noGrp="1"/>
          </p:cNvGraphicFramePr>
          <p:nvPr>
            <p:ph sz="quarter" idx="13"/>
            <p:extLst>
              <p:ext uri="{D42A27DB-BD31-4B8C-83A1-F6EECF244321}">
                <p14:modId xmlns:p14="http://schemas.microsoft.com/office/powerpoint/2010/main" val="1165780522"/>
              </p:ext>
            </p:extLst>
          </p:nvPr>
        </p:nvGraphicFramePr>
        <p:xfrm>
          <a:off x="655637" y="1000327"/>
          <a:ext cx="10880726" cy="21440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4" name="TextBox 23">
            <a:extLst>
              <a:ext uri="{FF2B5EF4-FFF2-40B4-BE49-F238E27FC236}">
                <a16:creationId xmlns:a16="http://schemas.microsoft.com/office/drawing/2014/main" id="{066977DD-6B22-4B86-8036-0E8151DB9251}"/>
              </a:ext>
            </a:extLst>
          </p:cNvPr>
          <p:cNvSpPr txBox="1"/>
          <p:nvPr/>
        </p:nvSpPr>
        <p:spPr>
          <a:xfrm>
            <a:off x="408859" y="4836968"/>
            <a:ext cx="5697836" cy="39320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76200" rIns="76200" bIns="76200"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F2F2F2"/>
                </a:solidFill>
                <a:effectLst/>
                <a:uLnTx/>
                <a:uFillTx/>
                <a:latin typeface="Lucida Console" panose="020B0609040504020204" pitchFamily="49" charset="0"/>
                <a:ea typeface="+mn-ea"/>
                <a:cs typeface="+mn-cs"/>
              </a:rPr>
              <a:t>PS&gt; Get-ChildItem </a:t>
            </a:r>
            <a:r>
              <a:rPr kumimoji="0" lang="en-US" sz="1800" b="0" i="0" u="none" strike="noStrike" kern="1200" cap="none" spc="0" normalizeH="0" baseline="0" noProof="0" dirty="0">
                <a:ln>
                  <a:noFill/>
                </a:ln>
                <a:solidFill>
                  <a:srgbClr val="FFE4B5"/>
                </a:solidFill>
                <a:effectLst/>
                <a:uLnTx/>
                <a:uFillTx/>
                <a:latin typeface="Lucida Console" panose="020B0609040504020204" pitchFamily="49" charset="0"/>
                <a:ea typeface="+mn-ea"/>
                <a:cs typeface="+mn-cs"/>
              </a:rPr>
              <a:t>–Path </a:t>
            </a:r>
            <a:r>
              <a:rPr kumimoji="0" lang="en-US" sz="1800" b="0" i="0" u="none" strike="noStrike" kern="1200" cap="none" spc="0" normalizeH="0" baseline="0" noProof="0" dirty="0">
                <a:ln>
                  <a:noFill/>
                </a:ln>
                <a:solidFill>
                  <a:srgbClr val="F2F2F2"/>
                </a:solidFill>
                <a:effectLst/>
                <a:uLnTx/>
                <a:uFillTx/>
                <a:latin typeface="Lucida Console" panose="020B0609040504020204" pitchFamily="49" charset="0"/>
                <a:ea typeface="+mn-ea"/>
                <a:cs typeface="+mn-cs"/>
              </a:rPr>
              <a:t>C:\ </a:t>
            </a:r>
            <a:r>
              <a:rPr kumimoji="0" lang="en-US" sz="1800" b="0" i="0" u="none" strike="noStrike" kern="1200" cap="none" spc="0" normalizeH="0" baseline="0" noProof="0" dirty="0">
                <a:ln>
                  <a:noFill/>
                </a:ln>
                <a:solidFill>
                  <a:srgbClr val="FFE4B5"/>
                </a:solidFill>
                <a:effectLst/>
                <a:uLnTx/>
                <a:uFillTx/>
                <a:latin typeface="Lucida Console" panose="020B0609040504020204" pitchFamily="49" charset="0"/>
                <a:ea typeface="+mn-ea"/>
                <a:cs typeface="+mn-cs"/>
              </a:rPr>
              <a:t>-Recurse</a:t>
            </a:r>
          </a:p>
        </p:txBody>
      </p:sp>
      <p:sp>
        <p:nvSpPr>
          <p:cNvPr id="16" name="TextBox 15">
            <a:extLst>
              <a:ext uri="{FF2B5EF4-FFF2-40B4-BE49-F238E27FC236}">
                <a16:creationId xmlns:a16="http://schemas.microsoft.com/office/drawing/2014/main" id="{DBC22DD2-FF92-496C-A127-16202396A716}"/>
              </a:ext>
            </a:extLst>
          </p:cNvPr>
          <p:cNvSpPr txBox="1"/>
          <p:nvPr/>
        </p:nvSpPr>
        <p:spPr>
          <a:xfrm>
            <a:off x="6795275" y="3469894"/>
            <a:ext cx="641684" cy="697759"/>
          </a:xfrm>
          <a:prstGeom prst="rect">
            <a:avLst/>
          </a:prstGeom>
          <a:solidFill>
            <a:srgbClr val="000080"/>
          </a:solidFill>
        </p:spPr>
        <p:txBody>
          <a:bodyPr wrap="square"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Segoe UI"/>
                <a:ea typeface="+mn-ea"/>
                <a:cs typeface="+mn-cs"/>
              </a:rPr>
              <a:t>ls</a:t>
            </a:r>
          </a:p>
        </p:txBody>
      </p:sp>
      <p:sp>
        <p:nvSpPr>
          <p:cNvPr id="13" name="TextBox 12">
            <a:extLst>
              <a:ext uri="{FF2B5EF4-FFF2-40B4-BE49-F238E27FC236}">
                <a16:creationId xmlns:a16="http://schemas.microsoft.com/office/drawing/2014/main" id="{85ACEAD2-1D15-496A-9158-6804C84CB756}"/>
              </a:ext>
            </a:extLst>
          </p:cNvPr>
          <p:cNvSpPr txBox="1"/>
          <p:nvPr/>
        </p:nvSpPr>
        <p:spPr>
          <a:xfrm>
            <a:off x="6609342" y="3622175"/>
            <a:ext cx="5042572" cy="39320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0" tIns="76200" rIns="76200" bIns="76200"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F2F2F2"/>
                </a:solidFill>
                <a:effectLst/>
                <a:uLnTx/>
                <a:uFillTx/>
                <a:latin typeface="Lucida Console" panose="020B0609040504020204" pitchFamily="49" charset="0"/>
                <a:ea typeface="+mn-ea"/>
                <a:cs typeface="+mn-cs"/>
              </a:rPr>
              <a:t>PS&gt; ls </a:t>
            </a:r>
            <a:r>
              <a:rPr kumimoji="0" lang="en-US" sz="1800" b="0" i="0" u="none" strike="noStrike" kern="1200" cap="none" spc="0" normalizeH="0" baseline="0" noProof="0" dirty="0">
                <a:ln>
                  <a:noFill/>
                </a:ln>
                <a:solidFill>
                  <a:srgbClr val="FFE4B5"/>
                </a:solidFill>
                <a:effectLst/>
                <a:uLnTx/>
                <a:uFillTx/>
                <a:latin typeface="Lucida Console" panose="020B0609040504020204" pitchFamily="49" charset="0"/>
                <a:ea typeface="+mn-ea"/>
                <a:cs typeface="+mn-cs"/>
              </a:rPr>
              <a:t>–Path </a:t>
            </a:r>
            <a:r>
              <a:rPr kumimoji="0" lang="en-US" sz="1800" b="0" i="0" u="none" strike="noStrike" kern="1200" cap="none" spc="0" normalizeH="0" baseline="0" noProof="0" dirty="0">
                <a:ln>
                  <a:noFill/>
                </a:ln>
                <a:solidFill>
                  <a:srgbClr val="F2F2F2"/>
                </a:solidFill>
                <a:effectLst/>
                <a:uLnTx/>
                <a:uFillTx/>
                <a:latin typeface="Lucida Console" panose="020B0609040504020204" pitchFamily="49" charset="0"/>
                <a:ea typeface="+mn-ea"/>
                <a:cs typeface="+mn-cs"/>
              </a:rPr>
              <a:t>C:\ </a:t>
            </a:r>
            <a:r>
              <a:rPr kumimoji="0" lang="en-US" sz="1800" b="0" i="0" u="none" strike="noStrike" kern="1200" cap="none" spc="0" normalizeH="0" baseline="0" noProof="0" dirty="0">
                <a:ln>
                  <a:noFill/>
                </a:ln>
                <a:solidFill>
                  <a:srgbClr val="FFE4B5"/>
                </a:solidFill>
                <a:effectLst/>
                <a:uLnTx/>
                <a:uFillTx/>
                <a:latin typeface="Lucida Console" panose="020B0609040504020204" pitchFamily="49" charset="0"/>
                <a:ea typeface="+mn-ea"/>
                <a:cs typeface="+mn-cs"/>
              </a:rPr>
              <a:t>-Recurse</a:t>
            </a:r>
          </a:p>
        </p:txBody>
      </p:sp>
      <p:sp>
        <p:nvSpPr>
          <p:cNvPr id="22" name="TextBox 21">
            <a:extLst>
              <a:ext uri="{FF2B5EF4-FFF2-40B4-BE49-F238E27FC236}">
                <a16:creationId xmlns:a16="http://schemas.microsoft.com/office/drawing/2014/main" id="{C33564FF-9CDB-4B41-9AFD-6F49C49045BE}"/>
              </a:ext>
            </a:extLst>
          </p:cNvPr>
          <p:cNvSpPr txBox="1"/>
          <p:nvPr/>
        </p:nvSpPr>
        <p:spPr>
          <a:xfrm>
            <a:off x="6795275" y="4725847"/>
            <a:ext cx="641684" cy="697759"/>
          </a:xfrm>
          <a:prstGeom prst="rect">
            <a:avLst/>
          </a:prstGeom>
          <a:solidFill>
            <a:srgbClr val="6089B4"/>
          </a:solidFill>
        </p:spPr>
        <p:txBody>
          <a:bodyPr wrap="square"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Segoe UI"/>
                <a:ea typeface="+mn-ea"/>
                <a:cs typeface="+mn-cs"/>
              </a:rPr>
              <a:t>dir</a:t>
            </a:r>
          </a:p>
        </p:txBody>
      </p:sp>
      <p:sp>
        <p:nvSpPr>
          <p:cNvPr id="20" name="TextBox 19">
            <a:extLst>
              <a:ext uri="{FF2B5EF4-FFF2-40B4-BE49-F238E27FC236}">
                <a16:creationId xmlns:a16="http://schemas.microsoft.com/office/drawing/2014/main" id="{01A6E441-B807-49B1-8F2A-E3651ACACDA9}"/>
              </a:ext>
            </a:extLst>
          </p:cNvPr>
          <p:cNvSpPr txBox="1"/>
          <p:nvPr/>
        </p:nvSpPr>
        <p:spPr>
          <a:xfrm>
            <a:off x="6609345" y="4878124"/>
            <a:ext cx="5173796" cy="39320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0" tIns="76200" rIns="76200" bIns="76200"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F2F2F2"/>
                </a:solidFill>
                <a:effectLst/>
                <a:uLnTx/>
                <a:uFillTx/>
                <a:latin typeface="Lucida Console" panose="020B0609040504020204" pitchFamily="49" charset="0"/>
                <a:ea typeface="+mn-ea"/>
                <a:cs typeface="+mn-cs"/>
              </a:rPr>
              <a:t>PS&gt; dir </a:t>
            </a:r>
            <a:r>
              <a:rPr kumimoji="0" lang="en-US" sz="1800" b="0" i="0" u="none" strike="noStrike" kern="1200" cap="none" spc="0" normalizeH="0" baseline="0" noProof="0" dirty="0">
                <a:ln>
                  <a:noFill/>
                </a:ln>
                <a:solidFill>
                  <a:srgbClr val="FFE4B5"/>
                </a:solidFill>
                <a:effectLst/>
                <a:uLnTx/>
                <a:uFillTx/>
                <a:latin typeface="Lucida Console" panose="020B0609040504020204" pitchFamily="49" charset="0"/>
                <a:ea typeface="+mn-ea"/>
                <a:cs typeface="+mn-cs"/>
              </a:rPr>
              <a:t>–Path </a:t>
            </a:r>
            <a:r>
              <a:rPr kumimoji="0" lang="en-US" sz="1800" b="0" i="0" u="none" strike="noStrike" kern="1200" cap="none" spc="0" normalizeH="0" baseline="0" noProof="0" dirty="0">
                <a:ln>
                  <a:noFill/>
                </a:ln>
                <a:solidFill>
                  <a:srgbClr val="F2F2F2"/>
                </a:solidFill>
                <a:effectLst/>
                <a:uLnTx/>
                <a:uFillTx/>
                <a:latin typeface="Lucida Console" panose="020B0609040504020204" pitchFamily="49" charset="0"/>
                <a:ea typeface="+mn-ea"/>
                <a:cs typeface="+mn-cs"/>
              </a:rPr>
              <a:t>C:\ </a:t>
            </a:r>
            <a:r>
              <a:rPr kumimoji="0" lang="en-US" sz="1800" b="0" i="0" u="none" strike="noStrike" kern="1200" cap="none" spc="0" normalizeH="0" baseline="0" noProof="0" dirty="0">
                <a:ln>
                  <a:noFill/>
                </a:ln>
                <a:solidFill>
                  <a:srgbClr val="FFE4B5"/>
                </a:solidFill>
                <a:effectLst/>
                <a:uLnTx/>
                <a:uFillTx/>
                <a:latin typeface="Lucida Console" panose="020B0609040504020204" pitchFamily="49" charset="0"/>
                <a:ea typeface="+mn-ea"/>
                <a:cs typeface="+mn-cs"/>
              </a:rPr>
              <a:t>-Recurse</a:t>
            </a:r>
          </a:p>
        </p:txBody>
      </p:sp>
      <p:sp>
        <p:nvSpPr>
          <p:cNvPr id="21" name="TextBox 20">
            <a:extLst>
              <a:ext uri="{FF2B5EF4-FFF2-40B4-BE49-F238E27FC236}">
                <a16:creationId xmlns:a16="http://schemas.microsoft.com/office/drawing/2014/main" id="{B1129B07-2969-451E-B051-BD2F459A1852}"/>
              </a:ext>
            </a:extLst>
          </p:cNvPr>
          <p:cNvSpPr txBox="1"/>
          <p:nvPr/>
        </p:nvSpPr>
        <p:spPr>
          <a:xfrm>
            <a:off x="6795275" y="5901446"/>
            <a:ext cx="641684" cy="697759"/>
          </a:xfrm>
          <a:prstGeom prst="rect">
            <a:avLst/>
          </a:prstGeom>
          <a:solidFill>
            <a:srgbClr val="8661C5"/>
          </a:solidFill>
        </p:spPr>
        <p:txBody>
          <a:bodyPr wrap="square"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Segoe UI"/>
                <a:ea typeface="+mn-ea"/>
                <a:cs typeface="+mn-cs"/>
              </a:rPr>
              <a:t>gci</a:t>
            </a:r>
          </a:p>
        </p:txBody>
      </p:sp>
      <p:sp>
        <p:nvSpPr>
          <p:cNvPr id="18" name="TextBox 17">
            <a:extLst>
              <a:ext uri="{FF2B5EF4-FFF2-40B4-BE49-F238E27FC236}">
                <a16:creationId xmlns:a16="http://schemas.microsoft.com/office/drawing/2014/main" id="{0453BA5B-F169-4586-90CB-6E3CBED1090B}"/>
              </a:ext>
            </a:extLst>
          </p:cNvPr>
          <p:cNvSpPr txBox="1"/>
          <p:nvPr/>
        </p:nvSpPr>
        <p:spPr>
          <a:xfrm>
            <a:off x="6609342" y="6053726"/>
            <a:ext cx="5277857" cy="39320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0" tIns="76200" rIns="76200" bIns="76200"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F2F2F2"/>
                </a:solidFill>
                <a:effectLst/>
                <a:uLnTx/>
                <a:uFillTx/>
                <a:latin typeface="Lucida Console" panose="020B0609040504020204" pitchFamily="49" charset="0"/>
                <a:ea typeface="+mn-ea"/>
                <a:cs typeface="+mn-cs"/>
              </a:rPr>
              <a:t>PS&gt; gci </a:t>
            </a:r>
            <a:r>
              <a:rPr kumimoji="0" lang="en-US" sz="1800" b="0" i="0" u="none" strike="noStrike" kern="1200" cap="none" spc="0" normalizeH="0" baseline="0" noProof="0" dirty="0">
                <a:ln>
                  <a:noFill/>
                </a:ln>
                <a:solidFill>
                  <a:srgbClr val="FFE4B5"/>
                </a:solidFill>
                <a:effectLst/>
                <a:uLnTx/>
                <a:uFillTx/>
                <a:latin typeface="Lucida Console" panose="020B0609040504020204" pitchFamily="49" charset="0"/>
                <a:ea typeface="+mn-ea"/>
                <a:cs typeface="+mn-cs"/>
              </a:rPr>
              <a:t>–Path </a:t>
            </a:r>
            <a:r>
              <a:rPr kumimoji="0" lang="en-US" sz="1800" b="0" i="0" u="none" strike="noStrike" kern="1200" cap="none" spc="0" normalizeH="0" baseline="0" noProof="0" dirty="0">
                <a:ln>
                  <a:noFill/>
                </a:ln>
                <a:solidFill>
                  <a:srgbClr val="F2F2F2"/>
                </a:solidFill>
                <a:effectLst/>
                <a:uLnTx/>
                <a:uFillTx/>
                <a:latin typeface="Lucida Console" panose="020B0609040504020204" pitchFamily="49" charset="0"/>
                <a:ea typeface="+mn-ea"/>
                <a:cs typeface="+mn-cs"/>
              </a:rPr>
              <a:t>C:\ </a:t>
            </a:r>
            <a:r>
              <a:rPr kumimoji="0" lang="en-US" sz="1800" b="0" i="0" u="none" strike="noStrike" kern="1200" cap="none" spc="0" normalizeH="0" baseline="0" noProof="0" dirty="0">
                <a:ln>
                  <a:noFill/>
                </a:ln>
                <a:solidFill>
                  <a:srgbClr val="FFE4B5"/>
                </a:solidFill>
                <a:effectLst/>
                <a:uLnTx/>
                <a:uFillTx/>
                <a:latin typeface="Lucida Console" panose="020B0609040504020204" pitchFamily="49" charset="0"/>
                <a:ea typeface="+mn-ea"/>
                <a:cs typeface="+mn-cs"/>
              </a:rPr>
              <a:t>-Recurse</a:t>
            </a:r>
          </a:p>
        </p:txBody>
      </p:sp>
      <p:sp>
        <p:nvSpPr>
          <p:cNvPr id="25" name="Left Brace 24">
            <a:extLst>
              <a:ext uri="{FF2B5EF4-FFF2-40B4-BE49-F238E27FC236}">
                <a16:creationId xmlns:a16="http://schemas.microsoft.com/office/drawing/2014/main" id="{416B9FDE-CDE9-4EE2-881E-47BE7887929B}"/>
              </a:ext>
              <a:ext uri="{C183D7F6-B498-43B3-948B-1728B52AA6E4}">
                <adec:decorative xmlns:adec="http://schemas.microsoft.com/office/drawing/2017/decorative" val="1"/>
              </a:ext>
            </a:extLst>
          </p:cNvPr>
          <p:cNvSpPr/>
          <p:nvPr/>
        </p:nvSpPr>
        <p:spPr>
          <a:xfrm>
            <a:off x="6295909" y="3403552"/>
            <a:ext cx="406400" cy="3281414"/>
          </a:xfrm>
          <a:prstGeom prst="leftBrace">
            <a:avLst>
              <a:gd name="adj1" fmla="val 35000"/>
              <a:gd name="adj2" fmla="val 50182"/>
            </a:avLst>
          </a:prstGeom>
          <a:ln w="12700" cap="flat" cmpd="sng" algn="ctr">
            <a:solidFill>
              <a:schemeClr val="dk1"/>
            </a:solidFill>
            <a:prstDash val="solid"/>
            <a:miter lim="800000"/>
            <a:headEnd type="none" w="med" len="med"/>
            <a:tailEnd type="none" w="med" len="med"/>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dirty="0"/>
          </a:p>
        </p:txBody>
      </p:sp>
    </p:spTree>
    <p:custDataLst>
      <p:tags r:id="rId1"/>
    </p:custDataLst>
    <p:extLst>
      <p:ext uri="{BB962C8B-B14F-4D97-AF65-F5344CB8AC3E}">
        <p14:creationId xmlns:p14="http://schemas.microsoft.com/office/powerpoint/2010/main" val="2231863708"/>
      </p:ext>
    </p:extLst>
  </p:cSld>
  <p:clrMapOvr>
    <a:masterClrMapping/>
  </p:clrMapOvr>
  <p:transition spd="slow"/>
</p:sld>
</file>

<file path=ppt/slides/slide7.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wrap="square" anchor="t">
            <a:normAutofit/>
          </a:bodyPr>
          <a:lstStyle/>
          <a:p>
            <a:r>
              <a:rPr lang="en-US" dirty="0"/>
              <a:t>Pipeline</a:t>
            </a:r>
          </a:p>
        </p:txBody>
      </p:sp>
      <p:sp>
        <p:nvSpPr>
          <p:cNvPr id="4" name="Content Placeholder 3">
            <a:extLst>
              <a:ext uri="{FF2B5EF4-FFF2-40B4-BE49-F238E27FC236}">
                <a16:creationId xmlns:a16="http://schemas.microsoft.com/office/drawing/2014/main" id="{882206ED-AF30-40B5-9C3A-8DFDB7B90200}"/>
              </a:ext>
            </a:extLst>
          </p:cNvPr>
          <p:cNvSpPr>
            <a:spLocks noGrp="1"/>
          </p:cNvSpPr>
          <p:nvPr>
            <p:ph sz="quarter" idx="13"/>
            <p:custDataLst>
              <p:tags r:id="rId2"/>
            </p:custDataLst>
          </p:nvPr>
        </p:nvSpPr>
        <p:spPr>
          <a:xfrm>
            <a:off x="655638" y="1408114"/>
            <a:ext cx="5284785" cy="4819650"/>
          </a:xfrm>
        </p:spPr>
        <p:txBody>
          <a:bodyPr>
            <a:normAutofit/>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lvl="0"/>
            <a:endParaRPr lang="en-US" baseline="0" dirty="0"/>
          </a:p>
          <a:p>
            <a:pPr lvl="0"/>
            <a:r>
              <a:rPr lang="en-US" baseline="0" dirty="0"/>
              <a:t>Passes </a:t>
            </a:r>
            <a:r>
              <a:rPr lang="en-US" b="1" baseline="0" dirty="0"/>
              <a:t>output</a:t>
            </a:r>
            <a:r>
              <a:rPr lang="en-US" baseline="0" dirty="0"/>
              <a:t> of one cmdlet to the </a:t>
            </a:r>
            <a:r>
              <a:rPr lang="en-US" b="1" baseline="0" dirty="0"/>
              <a:t>input</a:t>
            </a:r>
            <a:r>
              <a:rPr lang="en-US" baseline="0" dirty="0"/>
              <a:t> of another</a:t>
            </a:r>
          </a:p>
          <a:p>
            <a:pPr lvl="0"/>
            <a:endParaRPr lang="en-US" dirty="0"/>
          </a:p>
          <a:p>
            <a:pPr lvl="0"/>
            <a:r>
              <a:rPr lang="en-US" baseline="0" dirty="0"/>
              <a:t>Useful for </a:t>
            </a:r>
            <a:r>
              <a:rPr lang="en-US" b="1" baseline="0" dirty="0"/>
              <a:t>converting</a:t>
            </a:r>
            <a:r>
              <a:rPr lang="en-US" baseline="0" dirty="0"/>
              <a:t>, </a:t>
            </a:r>
            <a:r>
              <a:rPr lang="en-US" b="1" baseline="0" dirty="0"/>
              <a:t>filtering</a:t>
            </a:r>
            <a:r>
              <a:rPr lang="en-US" baseline="0" dirty="0"/>
              <a:t>, </a:t>
            </a:r>
            <a:r>
              <a:rPr lang="en-US" b="1" baseline="0" dirty="0"/>
              <a:t>formatting</a:t>
            </a:r>
            <a:r>
              <a:rPr lang="en-US" baseline="0" dirty="0"/>
              <a:t>, and </a:t>
            </a:r>
            <a:r>
              <a:rPr lang="en-US" b="1" baseline="0" dirty="0"/>
              <a:t>outputting</a:t>
            </a:r>
            <a:r>
              <a:rPr lang="en-US" baseline="0" dirty="0"/>
              <a:t> data</a:t>
            </a:r>
            <a:endParaRPr lang="en-US" dirty="0"/>
          </a:p>
          <a:p>
            <a:pPr lvl="0"/>
            <a:endParaRPr lang="en-US" b="1" baseline="0" dirty="0"/>
          </a:p>
          <a:p>
            <a:pPr lvl="0"/>
            <a:r>
              <a:rPr lang="en-US" b="1" baseline="0" dirty="0"/>
              <a:t>Foreach-Object</a:t>
            </a:r>
            <a:r>
              <a:rPr lang="en-US" baseline="0" dirty="0"/>
              <a:t> and </a:t>
            </a:r>
            <a:r>
              <a:rPr lang="en-US" b="1" baseline="0" dirty="0"/>
              <a:t>Where-Object</a:t>
            </a:r>
            <a:r>
              <a:rPr lang="en-US" baseline="0" dirty="0"/>
              <a:t> leverage the pipeline variable </a:t>
            </a:r>
            <a:r>
              <a:rPr lang="en-US" b="1" baseline="0" dirty="0"/>
              <a:t>$_</a:t>
            </a:r>
            <a:endParaRPr lang="en-US" b="1" dirty="0"/>
          </a:p>
          <a:p>
            <a:pPr>
              <a:buNone/>
            </a:pPr>
            <a:endParaRPr lang="en-US" dirty="0"/>
          </a:p>
        </p:txBody>
      </p:sp>
      <p:pic>
        <p:nvPicPr>
          <p:cNvPr id="7" name="Picture 6" descr="Manometer beer equipment">
            <a:extLst>
              <a:ext uri="{FF2B5EF4-FFF2-40B4-BE49-F238E27FC236}">
                <a16:creationId xmlns:a16="http://schemas.microsoft.com/office/drawing/2014/main" id="{D2E2B1C7-3E48-4F4D-8469-8B68B42B0469}"/>
              </a:ext>
            </a:extLst>
          </p:cNvPr>
          <p:cNvPicPr>
            <a:picLocks noChangeAspect="1"/>
          </p:cNvPicPr>
          <p:nvPr/>
        </p:nvPicPr>
        <p:blipFill rotWithShape="1">
          <a:blip r:embed="rId5"/>
          <a:srcRect l="25377" r="1978" b="-2"/>
          <a:stretch/>
        </p:blipFill>
        <p:spPr>
          <a:xfrm>
            <a:off x="6251576" y="1408113"/>
            <a:ext cx="5284785" cy="4819650"/>
          </a:xfrm>
          <a:prstGeom prst="rect">
            <a:avLst/>
          </a:prstGeom>
          <a:noFill/>
        </p:spPr>
      </p:pic>
    </p:spTree>
    <p:custDataLst>
      <p:tags r:id="rId1"/>
    </p:custDataLst>
    <p:extLst>
      <p:ext uri="{BB962C8B-B14F-4D97-AF65-F5344CB8AC3E}">
        <p14:creationId xmlns:p14="http://schemas.microsoft.com/office/powerpoint/2010/main" val="541897890"/>
      </p:ext>
    </p:extLst>
  </p:cSld>
  <p:clrMapOvr>
    <a:masterClrMapping/>
  </p:clrMapOvr>
  <p:transition spd="slow"/>
</p:sld>
</file>

<file path=ppt/slides/slide8.xml><?xml version="1.0" encoding="utf-8"?>
<p:sld xmlns:a16="http://schemas.microsoft.com/office/drawing/2014/main" xmlns:p14="http://schemas.microsoft.com/office/powerpoint/2010/main" xmlns:dgm="http://schemas.openxmlformats.org/drawingml/2006/diagram"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unction Overview</a:t>
            </a:r>
          </a:p>
        </p:txBody>
      </p:sp>
      <p:graphicFrame>
        <p:nvGraphicFramePr>
          <p:cNvPr id="6" name="Text Placeholder 3">
            <a:extLst>
              <a:ext uri="{FF2B5EF4-FFF2-40B4-BE49-F238E27FC236}">
                <a16:creationId xmlns:a16="http://schemas.microsoft.com/office/drawing/2014/main" id="{A25422A3-EC71-4EF3-9DAE-3D8769C02872}"/>
              </a:ext>
            </a:extLst>
          </p:cNvPr>
          <p:cNvGraphicFramePr/>
          <p:nvPr>
            <p:extLst>
              <p:ext uri="{D42A27DB-BD31-4B8C-83A1-F6EECF244321}">
                <p14:modId xmlns:p14="http://schemas.microsoft.com/office/powerpoint/2010/main" val="278162350"/>
              </p:ext>
            </p:extLst>
          </p:nvPr>
        </p:nvGraphicFramePr>
        <p:xfrm>
          <a:off x="655636" y="1091045"/>
          <a:ext cx="10880726" cy="54469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34500391"/>
      </p:ext>
    </p:extLst>
  </p:cSld>
  <p:clrMapOvr>
    <a:masterClrMapping/>
  </p:clrMapOvr>
  <p:transition spd="slow"/>
</p:sld>
</file>

<file path=ppt/slides/slide9.xml><?xml version="1.0" encoding="utf-8"?>
<p:sld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124AA-CE72-412E-81DB-396E5007FD1F}"/>
              </a:ext>
            </a:extLst>
          </p:cNvPr>
          <p:cNvSpPr>
            <a:spLocks noGrp="1"/>
          </p:cNvSpPr>
          <p:nvPr>
            <p:ph type="title"/>
          </p:nvPr>
        </p:nvSpPr>
        <p:spPr/>
        <p:txBody>
          <a:bodyPr/>
          <a:lstStyle/>
          <a:p>
            <a:r>
              <a:rPr lang="en-US" dirty="0"/>
              <a:t>Scripts</a:t>
            </a: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endParaRPr lang="en-US" dirty="0"/>
          </a:p>
        </p:txBody>
      </p:sp>
      <p:sp>
        <p:nvSpPr>
          <p:cNvPr id="5" name="Content Placeholder 4">
            <a:extLst>
              <a:ext uri="{FF2B5EF4-FFF2-40B4-BE49-F238E27FC236}">
                <a16:creationId xmlns:a16="http://schemas.microsoft.com/office/drawing/2014/main" id="{CE9E1359-E735-40DD-9B19-4745A194EEBE}"/>
              </a:ext>
            </a:extLst>
          </p:cNvPr>
          <p:cNvSpPr>
            <a:spLocks noGrp="1"/>
          </p:cNvSpPr>
          <p:nvPr>
            <p:ph sz="quarter" idx="13"/>
            <p:custDataLst>
              <p:tags r:id="rId2"/>
            </p:custDataLst>
          </p:nvPr>
        </p:nvSpPr>
        <p:spPr/>
        <p:txBody>
          <a:bodyPr/>
          <a:lstStyle>
            <a:lvl1pPr marL="310896" indent="-310896" algn="l" defTabSz="932688" rtl="0" eaLnBrk="1" latinLnBrk="0" hangingPunct="1">
              <a:buClr>
                <a:schemeClr val="tx1"/>
              </a:buClr>
              <a:buSzPct val="90000"/>
              <a:buFont typeface="Wingdings" panose="05000000000000000000" pitchFamily="2" charset="2"/>
              <a:buChar char=""/>
            </a:lvl1pPr>
            <a:lvl2pPr marL="621792" indent="-310896" algn="l" defTabSz="932688" rtl="0" eaLnBrk="1" latinLnBrk="0" hangingPunct="1">
              <a:buClr>
                <a:schemeClr val="tx1"/>
              </a:buClr>
              <a:buSzPct val="90000"/>
              <a:buFont typeface="Wingdings" panose="05000000000000000000" pitchFamily="2" charset="2"/>
              <a:buChar char=""/>
            </a:lvl2pPr>
            <a:lvl3pPr marL="932688" indent="-310896" algn="l" defTabSz="932688" rtl="0" eaLnBrk="1" latinLnBrk="0" hangingPunct="1">
              <a:buClr>
                <a:schemeClr val="tx1"/>
              </a:buClr>
              <a:buSzPct val="90000"/>
              <a:buFont typeface="Wingdings" panose="05000000000000000000" pitchFamily="2" charset="2"/>
              <a:buChar char=""/>
            </a:lvl3pPr>
            <a:lvl4pPr marL="1243584" indent="-310896" algn="l" defTabSz="932688" rtl="0" eaLnBrk="1" latinLnBrk="0" hangingPunct="1">
              <a:buClr>
                <a:schemeClr val="tx1"/>
              </a:buClr>
              <a:buSzPct val="90000"/>
              <a:buFont typeface="Wingdings" panose="05000000000000000000" pitchFamily="2" charset="2"/>
              <a:buChar char=""/>
            </a:lvl4pPr>
            <a:lvl5pPr marL="1554480" indent="-329184" algn="l" defTabSz="932688" rtl="0" eaLnBrk="1" latinLnBrk="0" hangingPunct="1">
              <a:buClr>
                <a:schemeClr val="tx1"/>
              </a:buClr>
              <a:buSzPct val="90000"/>
              <a:buFont typeface="Wingdings" panose="05000000000000000000" pitchFamily="2" charset="2"/>
              <a:buChar char=""/>
            </a:lvl5pPr>
            <a:lvl6pPr marL="310896" indent="-310896" algn="l" defTabSz="932688" rtl="0" eaLnBrk="1" latinLnBrk="0" hangingPunct="1">
              <a:buSzPct val="100000"/>
              <a:buFont typeface="+mj-lt"/>
              <a:buAutoNum type="arabicPeriod"/>
            </a:lvl6pPr>
            <a:lvl7pPr marL="621792" indent="-310896" algn="l" defTabSz="932688" rtl="0" eaLnBrk="1" latinLnBrk="0" hangingPunct="1">
              <a:buSzPct val="90000"/>
              <a:buFont typeface="+mj-lt"/>
              <a:buAutoNum type="alphaLcPeriod"/>
            </a:lvl7pPr>
          </a:lstStyle>
          <a:p>
            <a:pPr lvl="0"/>
            <a:r>
              <a:rPr lang="en-US" b="1" baseline="0" dirty="0"/>
              <a:t>Reusable</a:t>
            </a:r>
            <a:r>
              <a:rPr lang="en-US" baseline="0" dirty="0"/>
              <a:t> piece of PowerShell </a:t>
            </a:r>
            <a:r>
              <a:rPr lang="en-US" b="1" baseline="0" dirty="0"/>
              <a:t>code</a:t>
            </a:r>
            <a:r>
              <a:rPr lang="en-US" baseline="0" dirty="0"/>
              <a:t> saved in a file</a:t>
            </a:r>
            <a:endParaRPr lang="en-US" dirty="0"/>
          </a:p>
          <a:p>
            <a:pPr lvl="0"/>
            <a:r>
              <a:rPr lang="en-US" baseline="0" dirty="0"/>
              <a:t>Supports everything a function does, including </a:t>
            </a:r>
            <a:r>
              <a:rPr lang="en-US" b="1" baseline="0" dirty="0"/>
              <a:t>script signing </a:t>
            </a:r>
            <a:r>
              <a:rPr lang="en-US" baseline="0" dirty="0"/>
              <a:t>and applying </a:t>
            </a:r>
            <a:r>
              <a:rPr lang="en-US" b="1" baseline="0" dirty="0"/>
              <a:t>execution policies</a:t>
            </a:r>
            <a:endParaRPr lang="en-US" b="1" dirty="0"/>
          </a:p>
          <a:p>
            <a:pPr lvl="0"/>
            <a:r>
              <a:rPr lang="en-US" baseline="0" dirty="0"/>
              <a:t>Multiple methods to </a:t>
            </a:r>
            <a:r>
              <a:rPr lang="en-US" b="1" baseline="0" dirty="0"/>
              <a:t>execute</a:t>
            </a:r>
            <a:r>
              <a:rPr lang="en-US" baseline="0" dirty="0"/>
              <a:t> a script:</a:t>
            </a:r>
          </a:p>
          <a:p>
            <a:pPr lvl="1"/>
            <a:r>
              <a:rPr lang="en-US" baseline="0" dirty="0"/>
              <a:t>Typing the </a:t>
            </a:r>
            <a:r>
              <a:rPr lang="en-US" b="1" baseline="0" dirty="0"/>
              <a:t>full</a:t>
            </a:r>
            <a:r>
              <a:rPr lang="en-US" baseline="0" dirty="0"/>
              <a:t> or </a:t>
            </a:r>
            <a:r>
              <a:rPr lang="en-US" b="1" baseline="0" dirty="0"/>
              <a:t>relative</a:t>
            </a:r>
            <a:r>
              <a:rPr lang="en-US" baseline="0" dirty="0"/>
              <a:t> path to a file name</a:t>
            </a:r>
          </a:p>
          <a:p>
            <a:pPr lvl="1"/>
            <a:r>
              <a:rPr lang="en-US" dirty="0"/>
              <a:t>Calling the </a:t>
            </a:r>
            <a:r>
              <a:rPr lang="en-US" b="1" dirty="0"/>
              <a:t>invoke method</a:t>
            </a:r>
          </a:p>
          <a:p>
            <a:pPr lvl="1"/>
            <a:r>
              <a:rPr lang="en-US" baseline="0" dirty="0"/>
              <a:t>Right click to select “</a:t>
            </a:r>
            <a:r>
              <a:rPr lang="en-US" b="1" baseline="0" dirty="0"/>
              <a:t>Run with PowerShell</a:t>
            </a:r>
            <a:r>
              <a:rPr lang="en-US" baseline="0" dirty="0"/>
              <a:t>”</a:t>
            </a:r>
            <a:endParaRPr lang="en-US" dirty="0"/>
          </a:p>
        </p:txBody>
      </p:sp>
      <p:pic>
        <p:nvPicPr>
          <p:cNvPr id="13" name="Picture 12">
            <a:extLst>
              <a:ext uri="{FF2B5EF4-FFF2-40B4-BE49-F238E27FC236}">
                <a16:creationId xmlns:a16="http://schemas.microsoft.com/office/drawing/2014/main" id="{7F8C5304-9504-4E6A-93C8-7FC66020A902}"/>
              </a:ext>
            </a:extLst>
          </p:cNvPr>
          <p:cNvPicPr>
            <a:picLocks noChangeAspect="1"/>
          </p:cNvPicPr>
          <p:nvPr/>
        </p:nvPicPr>
        <p:blipFill>
          <a:blip r:embed="rId5"/>
          <a:stretch>
            <a:fillRect/>
          </a:stretch>
        </p:blipFill>
        <p:spPr>
          <a:xfrm>
            <a:off x="969527" y="4434910"/>
            <a:ext cx="4470468" cy="1813490"/>
          </a:xfrm>
          <a:prstGeom prst="rect">
            <a:avLst/>
          </a:prstGeom>
        </p:spPr>
      </p:pic>
      <p:sp>
        <p:nvSpPr>
          <p:cNvPr id="4" name="Rectangle 3">
            <a:extLst>
              <a:ext uri="{FF2B5EF4-FFF2-40B4-BE49-F238E27FC236}">
                <a16:creationId xmlns:a16="http://schemas.microsoft.com/office/drawing/2014/main" id="{41550423-D5F0-43BA-A01A-5E143185A337}"/>
              </a:ext>
            </a:extLst>
          </p:cNvPr>
          <p:cNvSpPr>
            <a:spLocks/>
          </p:cNvSpPr>
          <p:nvPr/>
        </p:nvSpPr>
        <p:spPr>
          <a:xfrm>
            <a:off x="5948364" y="4970571"/>
            <a:ext cx="4731602" cy="934929"/>
          </a:xfrm>
          <a:prstGeom prst="rect">
            <a:avLst/>
          </a:prstGeom>
          <a:solidFill>
            <a:srgbClr val="012456"/>
          </a:solidFill>
        </p:spPr>
        <p:txBody>
          <a:bodyPr wrap="square">
            <a:noAutofit/>
          </a:bodyPr>
          <a:lstStyle/>
          <a:p>
            <a:pPr>
              <a:defRPr/>
            </a:pPr>
            <a:r>
              <a:rPr lang="en-US" sz="1800" dirty="0">
                <a:solidFill>
                  <a:srgbClr val="F5F5F5"/>
                </a:solidFill>
                <a:latin typeface="Lucida Console" panose="020B0609040504020204" pitchFamily="49" charset="0"/>
              </a:rPr>
              <a:t>PS&gt; </a:t>
            </a:r>
            <a:r>
              <a:rPr lang="en-US" sz="1800" dirty="0">
                <a:solidFill>
                  <a:srgbClr val="E0FFFF"/>
                </a:solidFill>
                <a:latin typeface="Lucida Console" panose="020B0609040504020204" pitchFamily="49" charset="0"/>
              </a:rPr>
              <a:t>.\script.ps1 </a:t>
            </a:r>
          </a:p>
          <a:p>
            <a:pPr>
              <a:defRPr/>
            </a:pPr>
            <a:r>
              <a:rPr lang="en-US" sz="1800" dirty="0">
                <a:solidFill>
                  <a:srgbClr val="F5F5F5"/>
                </a:solidFill>
                <a:latin typeface="Lucida Console" panose="020B0609040504020204" pitchFamily="49" charset="0"/>
              </a:rPr>
              <a:t>PS&gt; </a:t>
            </a:r>
            <a:r>
              <a:rPr lang="en-US" sz="1800" dirty="0">
                <a:solidFill>
                  <a:srgbClr val="E0FFFF"/>
                </a:solidFill>
                <a:latin typeface="Lucida Console" panose="020B0609040504020204" pitchFamily="49" charset="0"/>
              </a:rPr>
              <a:t>c:\scripts\script.ps1</a:t>
            </a:r>
          </a:p>
          <a:p>
            <a:pPr>
              <a:defRPr/>
            </a:pPr>
            <a:r>
              <a:rPr lang="en-US" sz="1800" dirty="0">
                <a:solidFill>
                  <a:srgbClr val="F5F5F5"/>
                </a:solidFill>
                <a:latin typeface="Lucida Console" panose="020B0609040504020204" pitchFamily="49" charset="0"/>
              </a:rPr>
              <a:t>PS&gt; </a:t>
            </a:r>
            <a:r>
              <a:rPr lang="en-US" sz="1800" dirty="0">
                <a:solidFill>
                  <a:srgbClr val="D3D3D3"/>
                </a:solidFill>
                <a:latin typeface="Lucida Console" panose="020B0609040504020204" pitchFamily="49" charset="0"/>
              </a:rPr>
              <a:t>&amp;</a:t>
            </a:r>
            <a:r>
              <a:rPr lang="en-US" sz="1800" dirty="0">
                <a:solidFill>
                  <a:srgbClr val="F5F5F5"/>
                </a:solidFill>
                <a:latin typeface="Lucida Console" panose="020B0609040504020204" pitchFamily="49" charset="0"/>
              </a:rPr>
              <a:t> </a:t>
            </a:r>
            <a:r>
              <a:rPr lang="en-US" sz="1800" kern="0" dirty="0">
                <a:solidFill>
                  <a:srgbClr val="DB7093"/>
                </a:solidFill>
                <a:latin typeface="Consolas" panose="020B0609020204030204" pitchFamily="49" charset="0"/>
              </a:rPr>
              <a:t>"</a:t>
            </a:r>
            <a:r>
              <a:rPr lang="en-US" sz="1800" dirty="0">
                <a:solidFill>
                  <a:srgbClr val="DB7093"/>
                </a:solidFill>
                <a:latin typeface="Lucida Console" panose="020B0609040504020204" pitchFamily="49" charset="0"/>
              </a:rPr>
              <a:t>c:\scripts\my script.ps1</a:t>
            </a:r>
            <a:r>
              <a:rPr lang="en-US" sz="1800" kern="0" dirty="0">
                <a:solidFill>
                  <a:srgbClr val="DB7093"/>
                </a:solidFill>
                <a:latin typeface="Consolas" panose="020B0609020204030204" pitchFamily="49" charset="0"/>
              </a:rPr>
              <a:t>"</a:t>
            </a:r>
            <a:endParaRPr lang="en-US" sz="1800" dirty="0">
              <a:solidFill>
                <a:srgbClr val="FF4500"/>
              </a:solidFill>
              <a:latin typeface="Lucida Console" panose="020B0609040504020204" pitchFamily="49" charset="0"/>
            </a:endParaRPr>
          </a:p>
        </p:txBody>
      </p:sp>
    </p:spTree>
    <p:custDataLst>
      <p:tags r:id="rId1"/>
    </p:custDataLst>
    <p:extLst>
      <p:ext uri="{BB962C8B-B14F-4D97-AF65-F5344CB8AC3E}">
        <p14:creationId xmlns:p14="http://schemas.microsoft.com/office/powerpoint/2010/main" val="2664057939"/>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NATIVESECTIONS_V2" val="﻿&lt;?xml version=&quot;1.0&quot; encoding=&quot;utf-8&quot;?&gt;&lt;ArrayOfNativeSection xmlns:xsi=&quot;http://www.w3.org/2001/XMLSchema-instance&quot; xmlns:xsd=&quot;http://www.w3.org/2001/XMLSchema&quot;&gt;&lt;NativeSection&gt;&lt;SectionId&gt;{2EA458D7-D7FC-4A44-9D13-8E81E6083EA7}&lt;/SectionId&gt;&lt;Name&gt;WorkshopPLUS - Windows PowerShell: Tool Building&lt;/Name&gt;&lt;SlidesCount&gt;19&lt;/SlidesCount&gt;&lt;SlideGuids /&gt;&lt;/NativeSection&gt;&lt;/ArrayOfNativeSection&gt;"/>
  <p:tag name="MIO_EKGUID" val="e6874c3a-3053-43bd-88e9-686c4b279be9"/>
  <p:tag name="MIO_UPDATE" val="True"/>
  <p:tag name="MIO_VERSION" val="10.07.2020 19:14:34"/>
  <p:tag name="MIO_DBID" val="12B0C59E-2253-4124-A5E9-470ADF4CB168"/>
  <p:tag name="MIO_LASTDOWNLOADED" val="13.10.2020 08:25:26"/>
  <p:tag name="MIO_OBJECTNAME" val="M01 Knowledge Refresh"/>
  <p:tag name="MIO_LASTEDITORNAME" val="Tony Radkiewicz"/>
</p:tagLst>
</file>

<file path=ppt/tags/tag10.xml><?xml version="1.0" encoding="utf-8"?>
<p:tagLst xmlns:a="http://schemas.openxmlformats.org/drawingml/2006/main" xmlns:r="http://schemas.openxmlformats.org/officeDocument/2006/relationships" xmlns:p="http://schemas.openxmlformats.org/presentationml/2006/main">
  <p:tag name="MIO_GUID" val="5a64dd2c-bcc3-47d5-8fa3-1574c4d347e1"/>
  <p:tag name="MIO_EKGUID" val="0c9a586f-9f59-4a50-b0d1-ea76a670958d"/>
  <p:tag name="MIO_UPDATE" val="True"/>
  <p:tag name="MIO_VERSION" val="02.03.2020 12:19:20"/>
  <p:tag name="MIO_DBID" val="12b0c59e-2253-4124-a5e9-470adf4cb168"/>
  <p:tag name="MIO_LASTDOWNLOADED" val="10.07.2020 19:30:12"/>
  <p:tag name="MIO_OBJECTNAME" val="Knowledge Refresh"/>
  <p:tag name="MIO_LASTEDITORNAME" val="Devid Treuling"/>
</p:tagLst>
</file>

<file path=ppt/tags/tag11.xml><?xml version="1.0" encoding="utf-8"?>
<p:tagLst xmlns:a="http://schemas.openxmlformats.org/drawingml/2006/main" xmlns:r="http://schemas.openxmlformats.org/officeDocument/2006/relationships" xmlns:p="http://schemas.openxmlformats.org/presentationml/2006/main">
  <p:tag name="MIO_GUID" val="59410ca2-de27-45ac-8a71-2b84fe356125"/>
  <p:tag name="MIO_EKGUID" val="c5964bea-6815-4a99-8846-f9ba06060ba6"/>
  <p:tag name="MIO_UPDATE" val="True"/>
  <p:tag name="MIO_VERSION" val="02.03.2020 12:19:20"/>
  <p:tag name="MIO_DBID" val="12b0c59e-2253-4124-a5e9-470adf4cb168"/>
  <p:tag name="MIO_LASTDOWNLOADED" val="10.07.2020 19:30:13"/>
  <p:tag name="MIO_OBJECTNAME" val="Slide 2"/>
  <p:tag name="MIO_LASTEDITORNAME" val="Devid Treuling"/>
</p:tagLst>
</file>

<file path=ppt/tags/tag12.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f01af0ef-3641-4c88-a3aa-c802d3750fe1"/>
  <p:tag name="MIO_UPDATE" val="True"/>
  <p:tag name="MIO_VERSION" val="29.05.2020 19:48:25"/>
  <p:tag name="MIO_DBID" val="12b0c59e-2253-4124-a5e9-470adf4cb168"/>
  <p:tag name="MIO_LASTDOWNLOADED" val="10.07.2020 19:30:13"/>
  <p:tag name="MIO_OBJECTNAME" val="Objectives"/>
  <p:tag name="MIO_LASTEDITORNAME" val="Kory Thacher"/>
</p:tagLst>
</file>

<file path=ppt/tags/tag1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4.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15.xml><?xml version="1.0" encoding="utf-8"?>
<p:tagLst xmlns:a="http://schemas.openxmlformats.org/drawingml/2006/main" xmlns:r="http://schemas.openxmlformats.org/officeDocument/2006/relationships" xmlns:p="http://schemas.openxmlformats.org/presentationml/2006/main">
  <p:tag name="MIO_GUID" val="426e1b04-391b-466b-bc29-8a42babefe40"/>
  <p:tag name="MIO_EKGUID" val="8a7dae97-eb66-4e8b-aaee-8987b034baf5"/>
  <p:tag name="MIO_UPDATE" val="True"/>
  <p:tag name="MIO_VERSION" val="10.07.2020 19:14:32"/>
  <p:tag name="MIO_DBID" val="12b0c59e-2253-4124-a5e9-470adf4cb168"/>
  <p:tag name="MIO_LASTDOWNLOADED" val="10.07.2020 19:30:13"/>
  <p:tag name="MIO_OBJECTNAME" val="Cmdlets"/>
  <p:tag name="MIO_LASTEDITORNAME" val="Tony Radkiewicz"/>
</p:tagLst>
</file>

<file path=ppt/tags/tag16.xml><?xml version="1.0" encoding="utf-8"?>
<p:tagLst xmlns:a="http://schemas.openxmlformats.org/drawingml/2006/main" xmlns:r="http://schemas.openxmlformats.org/officeDocument/2006/relationships" xmlns:p="http://schemas.openxmlformats.org/presentationml/2006/main">
  <p:tag name="MIO_GUID" val="426e1b04-391b-466b-bc29-8a42babefe40"/>
  <p:tag name="MIO_EKGUID" val="62d776af-4481-428f-a723-f2ac210ccd31"/>
  <p:tag name="MIO_UPDATE" val="True"/>
  <p:tag name="MIO_VERSION" val="29.05.2020 19:48:25"/>
  <p:tag name="MIO_DBID" val="12b0c59e-2253-4124-a5e9-470adf4cb168"/>
  <p:tag name="MIO_LASTDOWNLOADED" val="10.07.2020 19:30:13"/>
  <p:tag name="MIO_OBJECTNAME" val="Cmdlets (2)"/>
  <p:tag name="MIO_LASTEDITORNAME" val="Kory Thacher"/>
</p:tagLst>
</file>

<file path=ppt/tags/tag17.xml><?xml version="1.0" encoding="utf-8"?>
<p:tagLst xmlns:a="http://schemas.openxmlformats.org/drawingml/2006/main" xmlns:r="http://schemas.openxmlformats.org/officeDocument/2006/relationships" xmlns:p="http://schemas.openxmlformats.org/presentationml/2006/main">
  <p:tag name="MIO_GUID" val="4df4c6eb-d2a5-4e73-bc8d-d337ce32b5c8"/>
  <p:tag name="MIO_EKGUID" val="e88df984-2966-4911-a5cc-c6e1d3de41a0"/>
  <p:tag name="MIO_UPDATE" val="True"/>
  <p:tag name="MIO_VERSION" val="10.07.2020 19:14:32"/>
  <p:tag name="MIO_DBID" val="12b0c59e-2253-4124-a5e9-470adf4cb168"/>
  <p:tag name="MIO_LASTDOWNLOADED" val="10.07.2020 19:30:13"/>
  <p:tag name="MIO_OBJECTNAME" val="Aliases"/>
  <p:tag name="MIO_LASTEDITORNAME" val="Tony Radkiewicz"/>
</p:tagLst>
</file>

<file path=ppt/tags/tag18.xml><?xml version="1.0" encoding="utf-8"?>
<p:tagLst xmlns:a="http://schemas.openxmlformats.org/drawingml/2006/main" xmlns:r="http://schemas.openxmlformats.org/officeDocument/2006/relationships" xmlns:p="http://schemas.openxmlformats.org/presentationml/2006/main">
  <p:tag name="MIO_GUID" val="4df4c6eb-d2a5-4e73-bc8d-d337ce32b5c8"/>
  <p:tag name="MIO_EKGUID" val="f808ecbf-449d-4408-853b-f4ad2b5be877"/>
  <p:tag name="MIO_UPDATE" val="True"/>
  <p:tag name="MIO_VERSION" val="29.05.2020 19:48:25"/>
  <p:tag name="MIO_DBID" val="12b0c59e-2253-4124-a5e9-470adf4cb168"/>
  <p:tag name="MIO_LASTDOWNLOADED" val="10.07.2020 19:30:13"/>
  <p:tag name="MIO_OBJECTNAME" val="Pipeline"/>
  <p:tag name="MIO_LASTEDITORNAME" val="Kory Thacher"/>
</p:tagLst>
</file>

<file path=ppt/tags/tag1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20.xml><?xml version="1.0" encoding="utf-8"?>
<p:tagLst xmlns:a="http://schemas.openxmlformats.org/drawingml/2006/main" xmlns:r="http://schemas.openxmlformats.org/officeDocument/2006/relationships" xmlns:p="http://schemas.openxmlformats.org/presentationml/2006/main">
  <p:tag name="MIO_GUID" val="39d655b4-d956-4ff5-9c13-896f15baac93"/>
  <p:tag name="MIO_EKGUID" val="725d1487-1090-4b5c-b04b-ad6b4339b1ef"/>
  <p:tag name="MIO_UPDATE" val="True"/>
  <p:tag name="MIO_VERSION" val="29.05.2020 19:48:25"/>
  <p:tag name="MIO_DBID" val="12b0c59e-2253-4124-a5e9-470adf4cb168"/>
  <p:tag name="MIO_LASTDOWNLOADED" val="10.07.2020 19:30:13"/>
  <p:tag name="MIO_OBJECTNAME" val="Function Overview"/>
  <p:tag name="MIO_LASTEDITORNAME" val="Kory Thacher"/>
</p:tagLst>
</file>

<file path=ppt/tags/tag21.xml><?xml version="1.0" encoding="utf-8"?>
<p:tagLst xmlns:a="http://schemas.openxmlformats.org/drawingml/2006/main" xmlns:r="http://schemas.openxmlformats.org/officeDocument/2006/relationships" xmlns:p="http://schemas.openxmlformats.org/presentationml/2006/main">
  <p:tag name="MIO_GUID" val="7209000d-aa96-4e20-a91c-501ebc107778"/>
  <p:tag name="MIO_EKGUID" val="84c1de0c-2153-4316-ba74-a6d4d695bedb"/>
  <p:tag name="MIO_UPDATE" val="True"/>
  <p:tag name="MIO_VERSION" val="10.07.2020 19:14:32"/>
  <p:tag name="MIO_DBID" val="12b0c59e-2253-4124-a5e9-470adf4cb168"/>
  <p:tag name="MIO_LASTDOWNLOADED" val="10.07.2020 19:30:13"/>
  <p:tag name="MIO_OBJECTNAME" val="Scripts"/>
  <p:tag name="MIO_LASTEDITORNAME" val="Tony Radkiewicz"/>
</p:tagLst>
</file>

<file path=ppt/tags/tag2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xml><?xml version="1.0" encoding="utf-8"?>
<p:tagLst xmlns:a="http://schemas.openxmlformats.org/drawingml/2006/main" xmlns:r="http://schemas.openxmlformats.org/officeDocument/2006/relationships" xmlns:p="http://schemas.openxmlformats.org/presentationml/2006/main">
  <p:tag name="MIO_GUID" val="8d2a8bf9-5f4f-4f4b-8f6b-755a75ed664d"/>
  <p:tag name="MIO_EKGUID" val="3134d2c4-dab3-42c5-a82a-edac757fa18d"/>
  <p:tag name="MIO_UPDATE" val="True"/>
  <p:tag name="MIO_VERSION" val="10.07.2020 19:14:33"/>
  <p:tag name="MIO_DBID" val="12b0c59e-2253-4124-a5e9-470adf4cb168"/>
  <p:tag name="MIO_LASTDOWNLOADED" val="10.07.2020 19:30:14"/>
  <p:tag name="MIO_OBJECTNAME" val="Objects"/>
  <p:tag name="MIO_LASTEDITORNAME" val="Tony Radkiewicz"/>
</p:tagLst>
</file>

<file path=ppt/tags/tag24.xml><?xml version="1.0" encoding="utf-8"?>
<p:tagLst xmlns:a="http://schemas.openxmlformats.org/drawingml/2006/main" xmlns:r="http://schemas.openxmlformats.org/officeDocument/2006/relationships" xmlns:p="http://schemas.openxmlformats.org/presentationml/2006/main">
  <p:tag name="MIO_GUID" val="4aae09f6-c2db-450b-b3ff-71f89c519026"/>
  <p:tag name="MIO_EKGUID" val="a02d8b0d-e914-4ce5-846e-7af168d202b3"/>
  <p:tag name="MIO_UPDATE" val="True"/>
  <p:tag name="MIO_VERSION" val="10.07.2020 19:14:33"/>
  <p:tag name="MIO_DBID" val="12b0c59e-2253-4124-a5e9-470adf4cb168"/>
  <p:tag name="MIO_LASTDOWNLOADED" val="10.07.2020 19:30:14"/>
  <p:tag name="MIO_OBJECTNAME" val="Datatype Usage"/>
  <p:tag name="MIO_LASTEDITORNAME" val="Tony Radkiewicz"/>
</p:tagLst>
</file>

<file path=ppt/tags/tag25.xml><?xml version="1.0" encoding="utf-8"?>
<p:tagLst xmlns:a="http://schemas.openxmlformats.org/drawingml/2006/main" xmlns:r="http://schemas.openxmlformats.org/officeDocument/2006/relationships" xmlns:p="http://schemas.openxmlformats.org/presentationml/2006/main">
  <p:tag name="MIO_GUID" val="4dfb669b-6245-460c-b498-fb34717e9377"/>
  <p:tag name="MIO_EKGUID" val="5de0506a-ffb4-4643-9c8d-6c3c4b9f8da2"/>
  <p:tag name="MIO_UPDATE" val="True"/>
  <p:tag name="MIO_VERSION" val="10.07.2020 19:14:33"/>
  <p:tag name="MIO_DBID" val="12b0c59e-2253-4124-a5e9-470adf4cb168"/>
  <p:tag name="MIO_LASTDOWNLOADED" val="10.07.2020 19:30:14"/>
  <p:tag name="MIO_OBJECTNAME" val="Arrays"/>
  <p:tag name="MIO_LASTEDITORNAME" val="Tony Radkiewicz"/>
</p:tagLst>
</file>

<file path=ppt/tags/tag26.xml><?xml version="1.0" encoding="utf-8"?>
<p:tagLst xmlns:a="http://schemas.openxmlformats.org/drawingml/2006/main" xmlns:r="http://schemas.openxmlformats.org/officeDocument/2006/relationships" xmlns:p="http://schemas.openxmlformats.org/presentationml/2006/main">
  <p:tag name="MIO_GUID" val="5d670f1a-cdfc-46fe-9cee-b5c1732a7c1e"/>
  <p:tag name="MIO_EKGUID" val="3763c1b6-902c-41f9-9980-55b6d6f0f613"/>
  <p:tag name="MIO_UPDATE" val="True"/>
  <p:tag name="MIO_VERSION" val="10.07.2020 19:14:33"/>
  <p:tag name="MIO_DBID" val="12b0c59e-2253-4124-a5e9-470adf4cb168"/>
  <p:tag name="MIO_LASTDOWNLOADED" val="10.07.2020 19:30:14"/>
  <p:tag name="MIO_OBJECTNAME" val="Flow Control - Loops"/>
  <p:tag name="MIO_LASTEDITORNAME" val="Tony Radkiewicz"/>
</p:tagLst>
</file>

<file path=ppt/tags/tag27.xml><?xml version="1.0" encoding="utf-8"?>
<p:tagLst xmlns:a="http://schemas.openxmlformats.org/drawingml/2006/main" xmlns:r="http://schemas.openxmlformats.org/officeDocument/2006/relationships" xmlns:p="http://schemas.openxmlformats.org/presentationml/2006/main">
  <p:tag name="MIO_GUID" val="5d670f1a-cdfc-46fe-9cee-b5c1732a7c1e"/>
  <p:tag name="MIO_EKGUID" val="e7cf1339-6f68-411a-9e58-99863d37e64c"/>
  <p:tag name="MIO_UPDATE" val="True"/>
  <p:tag name="MIO_VERSION" val="10.07.2020 19:14:34"/>
  <p:tag name="MIO_DBID" val="12b0c59e-2253-4124-a5e9-470adf4cb168"/>
  <p:tag name="MIO_LASTDOWNLOADED" val="10.07.2020 19:30:14"/>
  <p:tag name="MIO_OBJECTNAME" val="Flow Control - Decisions"/>
  <p:tag name="MIO_LASTEDITORNAME" val="Tony Radkiewicz"/>
</p:tagLst>
</file>

<file path=ppt/tags/tag28.xml><?xml version="1.0" encoding="utf-8"?>
<p:tagLst xmlns:a="http://schemas.openxmlformats.org/drawingml/2006/main" xmlns:r="http://schemas.openxmlformats.org/officeDocument/2006/relationships" xmlns:p="http://schemas.openxmlformats.org/presentationml/2006/main">
  <p:tag name="MIO_GUID" val="5d670f1a-cdfc-46fe-9cee-b5c1732a7c1e"/>
  <p:tag name="MIO_EKGUID" val="6751fc29-ce43-483f-b2c4-dd5f83c71aad"/>
  <p:tag name="MIO_UPDATE" val="True"/>
  <p:tag name="MIO_VERSION" val="10.07.2020 19:14:34"/>
  <p:tag name="MIO_DBID" val="12b0c59e-2253-4124-a5e9-470adf4cb168"/>
  <p:tag name="MIO_LASTDOWNLOADED" val="10.07.2020 19:30:14"/>
  <p:tag name="MIO_OBJECTNAME" val="Flow Control - Keywords"/>
  <p:tag name="MIO_LASTEDITORNAME" val="Tony Radkiewicz"/>
</p:tagLst>
</file>

<file path=ppt/tags/tag29.xml><?xml version="1.0" encoding="utf-8"?>
<p:tagLst xmlns:a="http://schemas.openxmlformats.org/drawingml/2006/main" xmlns:r="http://schemas.openxmlformats.org/officeDocument/2006/relationships" xmlns:p="http://schemas.openxmlformats.org/presentationml/2006/main">
  <p:tag name="MIO_GUID" val="88b23121-2e3c-42fb-aecd-2a24ec44ab0b"/>
  <p:tag name="MIO_EKGUID" val="ee6d282f-c1ae-4da9-ad33-dcfc06c7acd7"/>
  <p:tag name="MIO_UPDATE" val="True"/>
  <p:tag name="MIO_VERSION" val="10.07.2020 19:14:34"/>
  <p:tag name="MIO_DBID" val="12b0c59e-2253-4124-a5e9-470adf4cb168"/>
  <p:tag name="MIO_LASTDOWNLOADED" val="10.07.2020 19:30:14"/>
  <p:tag name="MIO_OBJECTNAME" val="Hash Tables"/>
  <p:tag name="MIO_LASTEDITORNAME" val="Tony Radkiewicz"/>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30.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DBID" val="12B0C59E-2253-4124-A5E9-470ADF4CB168"/>
  <p:tag name="MIO_LASTDOWNLOADED" val="05.11.2019 16:37:17"/>
  <p:tag name="MIO_OBJECTNAME" val="Code Box"/>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DBID" val="12B0C59E-2253-4124-A5E9-470ADF4CB168"/>
  <p:tag name="MIO_LASTDOWNLOADED" val="05.11.2019 16:37:17"/>
  <p:tag name="MIO_OBJECTNAME" val="Code Box"/>
  <p:tag name="MIO_LASTEDITORNAME" val="Devid Treuling"/>
</p:tagLst>
</file>

<file path=ppt/tags/tag32.xml><?xml version="1.0" encoding="utf-8"?>
<p:tagLst xmlns:a="http://schemas.openxmlformats.org/drawingml/2006/main" xmlns:r="http://schemas.openxmlformats.org/officeDocument/2006/relationships" xmlns:p="http://schemas.openxmlformats.org/presentationml/2006/main">
  <p:tag name="MIO_GUID" val="e23058c4-48bd-4b64-9dcc-ef43acb07aea"/>
  <p:tag name="MIO_EKGUID" val="49dc7fed-3696-4015-8b82-b9249760cab9"/>
  <p:tag name="MIO_UPDATE" val="True"/>
  <p:tag name="MIO_VERSION" val="10.07.2020 19:14:34"/>
  <p:tag name="MIO_DBID" val="12b0c59e-2253-4124-a5e9-470adf4cb168"/>
  <p:tag name="MIO_LASTDOWNLOADED" val="10.07.2020 19:30:14"/>
  <p:tag name="MIO_OBJECTNAME" val="Hashtables - Custom Objects"/>
  <p:tag name="MIO_LASTEDITORNAME" val="Tony Radkiewicz"/>
</p:tagLst>
</file>

<file path=ppt/tags/tag33.xml><?xml version="1.0" encoding="utf-8"?>
<p:tagLst xmlns:a="http://schemas.openxmlformats.org/drawingml/2006/main" xmlns:r="http://schemas.openxmlformats.org/officeDocument/2006/relationships" xmlns:p="http://schemas.openxmlformats.org/presentationml/2006/main">
  <p:tag name="MIO_GUID" val="e044238b-1f0a-4770-90c2-88ba40866e87"/>
  <p:tag name="MIO_EKGUID" val="5daa6a8d-20cc-44c4-b13d-9eb037bd50d6"/>
  <p:tag name="MIO_UPDATE" val="True"/>
  <p:tag name="MIO_DBID" val="12B0C59E-2253-4124-A5E9-470ADF4CB168"/>
  <p:tag name="MIO_LASTDOWNLOADED" val="05.11.2019 16:37:17"/>
  <p:tag name="MIO_OBJECTNAME" val="Code Box"/>
  <p:tag name="MIO_LASTEDITORNAME" val="Devid Treuling"/>
</p:tagLst>
</file>

<file path=ppt/tags/tag3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15806ff5-01f1-41cd-a45d-d59b4909586a"/>
  <p:tag name="MIO_UPDATE" val="True"/>
  <p:tag name="MIO_VERSION" val="02.03.2020 12:19:21"/>
  <p:tag name="MIO_DBID" val="12b0c59e-2253-4124-a5e9-470adf4cb168"/>
  <p:tag name="MIO_LASTDOWNLOADED" val="10.07.2020 19:30:14"/>
  <p:tag name="MIO_OBJECTNAME" val="Questions?"/>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36.xml><?xml version="1.0" encoding="utf-8"?>
<p:tagLst xmlns:a="http://schemas.openxmlformats.org/drawingml/2006/main" xmlns:r="http://schemas.openxmlformats.org/officeDocument/2006/relationships" xmlns:p="http://schemas.openxmlformats.org/presentationml/2006/main">
  <p:tag name="MIO_GUID" val="91d3759f-400c-49e4-937a-8902e8d5dd89"/>
  <p:tag name="MIO_EKGUID" val="6aa3cc50-dbe2-42f0-9ed3-fd52ed6e6ad7"/>
  <p:tag name="MIO_UPDATE" val="True"/>
  <p:tag name="MIO_VERSION" val="02.03.2020 12:19:21"/>
  <p:tag name="MIO_DBID" val="12b0c59e-2253-4124-a5e9-470adf4cb168"/>
  <p:tag name="MIO_LASTDOWNLOADED" val="10.07.2020 19:30:15"/>
  <p:tag name="MIO_OBJECTNAME" val="Slide 17"/>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5.02.2020 17:08:32"/>
  <p:tag name="MIO_OBJECTNAME" val="Light Grey"/>
  <p:tag name="MIO_CDID" val="0abed30f-9490-41c0-b430-1d8e289568da"/>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6effc138-af9f-443b-b131-e960561164b3"/>
  <p:tag name="MIO_UPDATE" val="True"/>
  <p:tag name="MIO_VERSION" val="30.09.2019 15:04:10"/>
  <p:tag name="MIO_DBID" val="12B0C59E-2253-4124-A5E9-470ADF4CB168"/>
  <p:tag name="MIO_LASTDOWNLOADED" val="24.10.2019 15:41:15"/>
  <p:tag name="MIO_OBJECTNAME" val="Dark Grey"/>
  <p:tag name="MIO_LASTEDITORNAME" val="Sinja Giese"/>
  <p:tag name="MIO_CDID" val="0abed30f-9490-41c0-b430-1d8e289568da"/>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True"/>
  <p:tag name="MIO_CD_LAYOUT_VALID_AREA" val="False"/>
  <p:tag name="MIO_NUMBER_OF_VALID_LAYOUTS" val="44"/>
  <p:tag name="MIO_HDS" val="True"/>
  <p:tag name="MIO_SKIPVERSION" val="01.01.0001 00:00:00"/>
  <p:tag name="MIO_EKGUID" val="6effc138-af9f-443b-b131-e960561164b3"/>
  <p:tag name="MIO_UPDATE" val="True"/>
  <p:tag name="MIO_VERSION" val="06.12.2019 15:30:57"/>
  <p:tag name="MIO_DBID" val="12B0C59E-2253-4124-A5E9-470ADF4CB168"/>
  <p:tag name="MIO_LASTDOWNLOADED" val="06.12.2019 16:37:13"/>
  <p:tag name="MIO_OBJECTNAME" val="Dark Grey"/>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3147f39-95e7-4bd7-a8b3-3f19a7a1395c"/>
  <p:tag name="MIO_UPDATE" val="True"/>
  <p:tag name="MIO_VERSION" val="09.01.2020 14:52:43"/>
  <p:tag name="MIO_DBID" val="12B0C59E-2253-4124-A5E9-470ADF4CB168"/>
  <p:tag name="MIO_LASTDOWNLOADED" val="25.02.2020 17:08:32"/>
  <p:tag name="MIO_OBJECTNAME" val="Light Grey"/>
  <p:tag name="MIO_CDID" val="0abed30f-9490-41c0-b430-1d8e289568da"/>
</p:tagLst>
</file>

<file path=ppt/theme/theme1.xml><?xml version="1.0" encoding="utf-8"?>
<a:theme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2.xml><?xml version="1.0" encoding="utf-8"?>
<a:theme xmlns:a="http://schemas.openxmlformats.org/drawingml/2006/main" name="Light Grey">
  <a:themeElements>
    <a:clrScheme name="Dark Grey">
      <a:dk1>
        <a:srgbClr val="000000"/>
      </a:dk1>
      <a:lt1>
        <a:srgbClr val="FFFFFF"/>
      </a:lt1>
      <a:dk2>
        <a:srgbClr val="414241"/>
      </a:dk2>
      <a:lt2>
        <a:srgbClr val="E6E6E6"/>
      </a:lt2>
      <a:accent1>
        <a:srgbClr val="0078D4"/>
      </a:accent1>
      <a:accent2>
        <a:srgbClr val="243A5E"/>
      </a:accent2>
      <a:accent3>
        <a:srgbClr val="D83B01"/>
      </a:accent3>
      <a:accent4>
        <a:srgbClr val="107C10"/>
      </a:accent4>
      <a:accent5>
        <a:srgbClr val="8661C5"/>
      </a:accent5>
      <a:accent6>
        <a:srgbClr val="D2D2D2"/>
      </a:accent6>
      <a:hlink>
        <a:srgbClr val="737373"/>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ct:contentTypeSchema xmlns:ct="http://schemas.microsoft.com/office/2006/metadata/contentType" xmlns:ma="http://schemas.microsoft.com/office/2006/metadata/properties/metaAttributes" ct:_="" ma:_="" ma:contentTypeName="Document" ma:contentTypeID="0x0101001AFFBB813ED9B340817B8218D8AE0A88" ma:contentTypeVersion="4" ma:contentTypeDescription="Create a new document." ma:contentTypeScope="" ma:versionID="b351b96b083234bceb461150bf358b76">
  <xsd:schema xmlns:xsd="http://www.w3.org/2001/XMLSchema" xmlns:xs="http://www.w3.org/2001/XMLSchema" xmlns:p="http://schemas.microsoft.com/office/2006/metadata/properties" xmlns:ns1="http://schemas.microsoft.com/sharepoint/v3" xmlns:ns2="b3a7cdad-67b7-49c6-9bab-f625ee5dc3e7" targetNamespace="http://schemas.microsoft.com/office/2006/metadata/properties" ma:root="true" ma:fieldsID="3fb2ae936b2a572993e23624d901a5e3" ns1:_="" ns2:_="">
    <xsd:import namespace="http://schemas.microsoft.com/sharepoint/v3"/>
    <xsd:import namespace="b3a7cdad-67b7-49c6-9bab-f625ee5dc3e7"/>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a7cdad-67b7-49c6-9bab-f625ee5dc3e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98B07E1D-1705-4BFF-9D26-5BD55E15AC94}">
  <ds:schemaRefs>
    <ds:schemaRef ds:uri="Strauss.PersonalizationDefinition"/>
  </ds:schemaRefs>
</ds:datastoreItem>
</file>

<file path=customXml/itemProps3.xml><?xml version="1.0" encoding="utf-8"?>
<ds:datastoreItem xmlns:ds="http://schemas.openxmlformats.org/officeDocument/2006/customXml" ds:itemID="{BAE8450E-268B-4649-97F1-6D7F5D47D0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3a7cdad-67b7-49c6-9bab-f625ee5dc3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990F116-B58F-4255-B05B-DA3808E0E5C6}">
  <ds:schemaRefs>
    <ds:schemaRef ds:uri="http://schemas.openxmlformats.org/package/2006/metadata/core-properties"/>
    <ds:schemaRef ds:uri="http://schemas.microsoft.com/sharepoint/v3"/>
    <ds:schemaRef ds:uri="http://schemas.microsoft.com/office/infopath/2007/PartnerControls"/>
    <ds:schemaRef ds:uri="http://purl.org/dc/dcmitype/"/>
    <ds:schemaRef ds:uri="b3a7cdad-67b7-49c6-9bab-f625ee5dc3e7"/>
    <ds:schemaRef ds:uri="http://www.w3.org/XML/1998/namespace"/>
    <ds:schemaRef ds:uri="http://schemas.microsoft.com/office/2006/documentManagement/types"/>
    <ds:schemaRef ds:uri="http://purl.org/dc/elements/1.1/"/>
    <ds:schemaRef ds:uri="http://schemas.microsoft.com/office/2006/metadata/properties"/>
    <ds:schemaRef ds:uri="http://purl.org/dc/terms/"/>
  </ds:schemaRefs>
</ds:datastoreItem>
</file>

<file path=customXml/itemProps5.xml><?xml version="1.0" encoding="utf-8"?>
<ds:datastoreItem xmlns:ds="http://schemas.openxmlformats.org/officeDocument/2006/customXml" ds:itemID="{7803EAE9-CAB0-47ED-9FC5-4F9F67F425F6}">
  <ds:schemaRefs>
    <ds:schemaRef ds:uri="Strauss.PersonalizationDefinition"/>
  </ds:schemaRefs>
</ds:datastoreItem>
</file>

<file path=customXml/itemProps6.xml><?xml version="1.0" encoding="utf-8"?>
<ds:datastoreItem xmlns:ds="http://schemas.openxmlformats.org/officeDocument/2006/customXml" ds:itemID="{7B98D3F7-D110-4975-A331-437D1DE0C452}">
  <ds:schemaRefs>
    <ds:schemaRef ds:uri="Strauss.PersonalizationDefinition"/>
  </ds:schemaRefs>
</ds:datastoreItem>
</file>

<file path=customXml/itemProps7.xml><?xml version="1.0" encoding="utf-8"?>
<ds:datastoreItem xmlns:ds="http://schemas.openxmlformats.org/officeDocument/2006/customXml" ds:itemID="{DDA93AB2-2652-4C93-AC2B-5E6CB6D902E9}">
  <ds:schemaRefs>
    <ds:schemaRef ds:uri="Strauss.PersonalizationDefinition"/>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286</TotalTime>
  <Words>2074</Words>
  <Application>Microsoft Office PowerPoint</Application>
  <PresentationFormat>Widescreen</PresentationFormat>
  <Paragraphs>323</Paragraphs>
  <Slides>19</Slides>
  <Notes>16</Notes>
  <HiddenSlides>1</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19</vt:i4>
      </vt:variant>
    </vt:vector>
  </HeadingPairs>
  <TitlesOfParts>
    <vt:vector size="31" baseType="lpstr">
      <vt:lpstr>Arial</vt:lpstr>
      <vt:lpstr>Calibri</vt:lpstr>
      <vt:lpstr>Calibri Light</vt:lpstr>
      <vt:lpstr>Comic Sans MS</vt:lpstr>
      <vt:lpstr>Consolas</vt:lpstr>
      <vt:lpstr>Lucida Console</vt:lpstr>
      <vt:lpstr>Segoe UI</vt:lpstr>
      <vt:lpstr>Segoe UI Light</vt:lpstr>
      <vt:lpstr>Segoe UI Semibold</vt:lpstr>
      <vt:lpstr>Wingdings</vt:lpstr>
      <vt:lpstr>Light Grey</vt:lpstr>
      <vt:lpstr>Light Grey</vt:lpstr>
      <vt:lpstr>Knowledge Refresh</vt:lpstr>
      <vt:lpstr>PowerPoint Presentation</vt:lpstr>
      <vt:lpstr>Objectives</vt:lpstr>
      <vt:lpstr>Cmdlets</vt:lpstr>
      <vt:lpstr>Cmdlets</vt:lpstr>
      <vt:lpstr>Aliases</vt:lpstr>
      <vt:lpstr>Pipeline</vt:lpstr>
      <vt:lpstr>Function Overview</vt:lpstr>
      <vt:lpstr>Scripts           </vt:lpstr>
      <vt:lpstr>Objects</vt:lpstr>
      <vt:lpstr>Datatype Usage </vt:lpstr>
      <vt:lpstr>Arrays </vt:lpstr>
      <vt:lpstr>Flow Control - Loops</vt:lpstr>
      <vt:lpstr>Flow Control - Decisions</vt:lpstr>
      <vt:lpstr>Flow Control - Keywords</vt:lpstr>
      <vt:lpstr>Hash Tables</vt:lpstr>
      <vt:lpstr>Hash Tables - Custom Objects</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oreProperties xmlns:dc="http://purl.org/dc/elements/1.1/" xmlns:dcterms="http://purl.org/dc/terms/" xmlns:xsi="http://www.w3.org/2001/XMLSchema-instance" xmlns="http://schemas.openxmlformats.org/package/2006/metadata/core-properties">
  <dc:title>WorkshopPLUS - Windows PowerShell: Tool Building</dc:title>
  <dc:creator>mip_noreply@microsoft.com</dc:creator>
  <lastModifiedBy>mip_noreply@microsoft.com</lastModifiedBy>
  <revision>20</revision>
  <dcterms:created xsi:type="dcterms:W3CDTF">2019-12-16T14:31:32.0000000Z</dcterms:created>
  <dcterms:modified xsi:type="dcterms:W3CDTF">2022-12-05T10:32:01.0000000Z</dcterms:modified>
  <keywords>20230330.1</keywords>
</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MSIP_Label_f42aa342-8706-4288-bd11-ebb85995028c_Enabled">
    <vt:lpwstr>True</vt:lpwstr>
  </op:property>
  <op:property fmtid="{D5CDD505-2E9C-101B-9397-08002B2CF9AE}" pid="3" name="MSIP_Label_f42aa342-8706-4288-bd11-ebb85995028c_SiteId">
    <vt:lpwstr>72f988bf-86f1-41af-91ab-2d7cd011db47</vt:lpwstr>
  </op:property>
  <op:property fmtid="{D5CDD505-2E9C-101B-9397-08002B2CF9AE}" pid="4" name="MSIP_Label_f42aa342-8706-4288-bd11-ebb85995028c_SetDate">
    <vt:lpwstr>2019-12-16T14:33:16.0150323Z</vt:lpwstr>
  </op:property>
  <op:property fmtid="{D5CDD505-2E9C-101B-9397-08002B2CF9AE}" pid="5" name="MSIP_Label_f42aa342-8706-4288-bd11-ebb85995028c_Name">
    <vt:lpwstr>General</vt:lpwstr>
  </op:property>
  <op:property fmtid="{D5CDD505-2E9C-101B-9397-08002B2CF9AE}" pid="6" name="MSIP_Label_f42aa342-8706-4288-bd11-ebb85995028c_ActionId">
    <vt:lpwstr>772ddf81-7d67-48d6-9b6b-429b6ebdf971</vt:lpwstr>
  </op:property>
  <op:property fmtid="{D5CDD505-2E9C-101B-9397-08002B2CF9AE}" pid="7" name="MSIP_Label_f42aa342-8706-4288-bd11-ebb85995028c_Extended_MSFT_Method">
    <vt:lpwstr>Automatic</vt:lpwstr>
  </op:property>
  <op:property fmtid="{D5CDD505-2E9C-101B-9397-08002B2CF9AE}" pid="8" name="Sensitivity">
    <vt:lpwstr>General</vt:lpwstr>
  </op:property>
  <op:property fmtid="{D5CDD505-2E9C-101B-9397-08002B2CF9AE}" pid="9" name="ContentTypeId">
    <vt:lpwstr>0x0101001AFFBB813ED9B340817B8218D8AE0A88</vt:lpwstr>
  </op:property>
  <op:property fmtid="{D5CDD505-2E9C-101B-9397-08002B2CF9AE}" pid="10" name="MediaServiceImageTags">
    <vt:lpwstr/>
  </op:property>
</op:Properties>
</file>